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8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696" r:id="rId3"/>
    <p:sldMasterId id="2147483708" r:id="rId4"/>
    <p:sldMasterId id="2147483720" r:id="rId5"/>
    <p:sldMasterId id="2147483732" r:id="rId6"/>
    <p:sldMasterId id="2147483744" r:id="rId7"/>
    <p:sldMasterId id="2147483756" r:id="rId8"/>
    <p:sldMasterId id="2147483768" r:id="rId9"/>
  </p:sldMasterIdLst>
  <p:notesMasterIdLst>
    <p:notesMasterId r:id="rId20"/>
  </p:notesMasterIdLst>
  <p:handoutMasterIdLst>
    <p:handoutMasterId r:id="rId21"/>
  </p:handoutMasterIdLst>
  <p:sldIdLst>
    <p:sldId id="256" r:id="rId10"/>
    <p:sldId id="263" r:id="rId11"/>
    <p:sldId id="262" r:id="rId12"/>
    <p:sldId id="269" r:id="rId13"/>
    <p:sldId id="267" r:id="rId14"/>
    <p:sldId id="268" r:id="rId15"/>
    <p:sldId id="265" r:id="rId16"/>
    <p:sldId id="270" r:id="rId17"/>
    <p:sldId id="273" r:id="rId18"/>
    <p:sldId id="274" r:id="rId19"/>
  </p:sldIdLst>
  <p:sldSz cx="11522075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97" autoAdjust="0"/>
    <p:restoredTop sz="92649" autoAdjust="0"/>
  </p:normalViewPr>
  <p:slideViewPr>
    <p:cSldViewPr>
      <p:cViewPr>
        <p:scale>
          <a:sx n="71" d="100"/>
          <a:sy n="71" d="100"/>
        </p:scale>
        <p:origin x="-1410" y="-282"/>
      </p:cViewPr>
      <p:guideLst>
        <p:guide orient="horz" pos="2160"/>
        <p:guide pos="362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65" d="100"/>
          <a:sy n="65" d="100"/>
        </p:scale>
        <p:origin x="-3396" y="-114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viewProps" Target="viewProp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71943CD-3828-4F2B-A61E-D5F7CCF12103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EFB00E2-47AA-480B-9ACE-1141D1FDE4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469252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854047-7A0B-476F-9B63-6A746EC9B30C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9275" y="685800"/>
            <a:ext cx="57594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EF84B3-2E9B-45EF-A3C8-165FE5D1E3A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453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49275" y="685800"/>
            <a:ext cx="575945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Hi</a:t>
            </a:r>
            <a:r>
              <a:rPr lang="en-US" baseline="0" dirty="0" smtClean="0"/>
              <a:t> guys,  before I want to give my final presentation about liquid net </a:t>
            </a:r>
            <a:r>
              <a:rPr lang="en-US" baseline="0" dirty="0" err="1" smtClean="0"/>
              <a:t>reuquirments</a:t>
            </a:r>
            <a:r>
              <a:rPr lang="en-US" baseline="0" dirty="0" smtClean="0"/>
              <a:t>.. I would like to show you a short video clip about Liquid net so the concept will be more vivid and tangible </a:t>
            </a:r>
            <a:br>
              <a:rPr lang="en-US" baseline="0" dirty="0" smtClean="0"/>
            </a:br>
            <a:r>
              <a:rPr lang="en-US" baseline="0" dirty="0" smtClean="0"/>
              <a:t/>
            </a:r>
            <a:br>
              <a:rPr lang="en-US" baseline="0" dirty="0" smtClean="0"/>
            </a:br>
            <a:r>
              <a:rPr lang="en-US" baseline="0" dirty="0" smtClean="0"/>
              <a:t>Well Now , in order to find the </a:t>
            </a:r>
            <a:r>
              <a:rPr lang="en-US" baseline="0" dirty="0" err="1" smtClean="0"/>
              <a:t>requirment</a:t>
            </a:r>
            <a:r>
              <a:rPr lang="en-US" baseline="0" dirty="0" smtClean="0"/>
              <a:t> First I would like to say the first main </a:t>
            </a:r>
            <a:r>
              <a:rPr lang="en-US" baseline="0" dirty="0" err="1" smtClean="0"/>
              <a:t>requirments</a:t>
            </a:r>
            <a:r>
              <a:rPr lang="en-US" baseline="0" dirty="0" smtClean="0"/>
              <a:t> of Liquid net 1.Evoloutionary 2.Self adaptive, Self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72A620-CD71-4A60-824E-103AA9C5B48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18997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47688" y="685800"/>
            <a:ext cx="5762625" cy="3429000"/>
          </a:xfrm>
          <a:ln/>
        </p:spPr>
      </p:sp>
      <p:sp>
        <p:nvSpPr>
          <p:cNvPr id="7782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>
              <a:latin typeface="Arial" pitchFamily="84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47688" y="685800"/>
            <a:ext cx="5762625" cy="3429000"/>
          </a:xfrm>
          <a:ln/>
        </p:spPr>
      </p:sp>
      <p:sp>
        <p:nvSpPr>
          <p:cNvPr id="7987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>
              <a:latin typeface="Arial" pitchFamily="84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34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8534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49" name="Rectangle 2"/>
          <p:cNvSpPr>
            <a:spLocks noGrp="1" noRot="1" noChangeAspect="1" noChangeArrowheads="1"/>
          </p:cNvSpPr>
          <p:nvPr>
            <p:ph type="sldImg"/>
          </p:nvPr>
        </p:nvSpPr>
        <p:spPr>
          <a:solidFill>
            <a:srgbClr val="FFFFFF"/>
          </a:solidFill>
          <a:ln/>
        </p:spPr>
      </p:sp>
      <p:sp>
        <p:nvSpPr>
          <p:cNvPr id="181250" name="Rectangle 3"/>
          <p:cNvSpPr>
            <a:spLocks noGrp="1" noChangeArrowheads="1"/>
          </p:cNvSpPr>
          <p:nvPr>
            <p:ph type="body" idx="1"/>
          </p:nvPr>
        </p:nvSpPr>
        <p:spPr>
          <a:solidFill>
            <a:srgbClr val="FFFFFF"/>
          </a:solidFill>
          <a:ln>
            <a:solidFill>
              <a:srgbClr val="000000"/>
            </a:solidFill>
          </a:ln>
        </p:spPr>
        <p:txBody>
          <a:bodyPr/>
          <a:lstStyle/>
          <a:p>
            <a:endParaRPr lang="en-US" smtClean="0">
              <a:ea typeface="ヒラギノ角ゴ Pro W3"/>
              <a:cs typeface="ヒラギノ角ゴ Pro W3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777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93822" y="795705"/>
            <a:ext cx="6271971" cy="3203331"/>
          </a:xfrm>
          <a:ln/>
        </p:spPr>
      </p:sp>
      <p:sp>
        <p:nvSpPr>
          <p:cNvPr id="203778" name="Notes Placehold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fi-FI" dirty="0" smtClean="0"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041" name="Folienbildplatzhalt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7042" name="Notizenplatzhalter 2"/>
          <p:cNvSpPr>
            <a:spLocks noGrp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smtClean="0">
              <a:latin typeface="Arial" pitchFamily="84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130440"/>
            <a:ext cx="9793764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886200"/>
            <a:ext cx="806545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288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44740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74652"/>
            <a:ext cx="2592467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74652"/>
            <a:ext cx="7585366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184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130439"/>
            <a:ext cx="9793764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886200"/>
            <a:ext cx="806545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0363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858784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406913"/>
            <a:ext cx="9793764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906715"/>
            <a:ext cx="9793764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00285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01577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5" y="1535113"/>
            <a:ext cx="5090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5" y="2174875"/>
            <a:ext cx="5090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65" y="1535113"/>
            <a:ext cx="5092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65" y="2174875"/>
            <a:ext cx="5092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46654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306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0518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15" y="273050"/>
            <a:ext cx="37906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2" y="273064"/>
            <a:ext cx="644116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15" y="1435104"/>
            <a:ext cx="37906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61156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1053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800601"/>
            <a:ext cx="691324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612775"/>
            <a:ext cx="691324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367339"/>
            <a:ext cx="691324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55628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8112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74652"/>
            <a:ext cx="2592467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74652"/>
            <a:ext cx="7585366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2970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130439"/>
            <a:ext cx="9793764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886200"/>
            <a:ext cx="806545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89178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55298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406913"/>
            <a:ext cx="9793764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906715"/>
            <a:ext cx="9793764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2573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82673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5" y="1535113"/>
            <a:ext cx="5090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5" y="2174875"/>
            <a:ext cx="5090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65" y="1535113"/>
            <a:ext cx="5092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65" y="2174875"/>
            <a:ext cx="5092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12143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3948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2463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406913"/>
            <a:ext cx="9793764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906723"/>
            <a:ext cx="9793764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31940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15" y="273050"/>
            <a:ext cx="37906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2" y="273064"/>
            <a:ext cx="644116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15" y="1435104"/>
            <a:ext cx="37906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685188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800601"/>
            <a:ext cx="691324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612775"/>
            <a:ext cx="691324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367339"/>
            <a:ext cx="691324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018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9122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74652"/>
            <a:ext cx="2592467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74652"/>
            <a:ext cx="7585366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1750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130439"/>
            <a:ext cx="9793764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886200"/>
            <a:ext cx="806545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38126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52450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406913"/>
            <a:ext cx="9793764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906715"/>
            <a:ext cx="9793764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724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40521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5" y="1535113"/>
            <a:ext cx="5090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5" y="2174875"/>
            <a:ext cx="5090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65" y="1535113"/>
            <a:ext cx="5092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65" y="2174875"/>
            <a:ext cx="5092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9982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3539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1441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13697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15" y="273050"/>
            <a:ext cx="37906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2" y="273064"/>
            <a:ext cx="644116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15" y="1435104"/>
            <a:ext cx="37906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585538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800601"/>
            <a:ext cx="691324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612775"/>
            <a:ext cx="691324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367339"/>
            <a:ext cx="691324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66308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723153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74652"/>
            <a:ext cx="2592467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74652"/>
            <a:ext cx="7585366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80175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130439"/>
            <a:ext cx="9793764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886200"/>
            <a:ext cx="806545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674825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0986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406913"/>
            <a:ext cx="9793764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906715"/>
            <a:ext cx="9793764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277279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600207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06668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5" y="1535113"/>
            <a:ext cx="5090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5" y="2174875"/>
            <a:ext cx="5090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65" y="1535113"/>
            <a:ext cx="5092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65" y="2174875"/>
            <a:ext cx="5092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1257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6" y="1535113"/>
            <a:ext cx="5090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6" y="2174875"/>
            <a:ext cx="5090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66" y="1535113"/>
            <a:ext cx="5092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66" y="2174875"/>
            <a:ext cx="5092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077178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78199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6504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15" y="273050"/>
            <a:ext cx="37906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2" y="273064"/>
            <a:ext cx="644116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15" y="1435104"/>
            <a:ext cx="37906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87619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800601"/>
            <a:ext cx="691324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612775"/>
            <a:ext cx="691324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367339"/>
            <a:ext cx="691324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2682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96962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74652"/>
            <a:ext cx="2592467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74652"/>
            <a:ext cx="7585366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22729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130429"/>
            <a:ext cx="9793764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886200"/>
            <a:ext cx="806545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8756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31440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406904"/>
            <a:ext cx="9793764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906715"/>
            <a:ext cx="9793764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469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600204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600204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06458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7523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5" y="1535113"/>
            <a:ext cx="5090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5" y="2174875"/>
            <a:ext cx="5090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57" y="1535113"/>
            <a:ext cx="5092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57" y="2174875"/>
            <a:ext cx="5092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1227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3234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8731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07" y="273050"/>
            <a:ext cx="37906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2" y="273054"/>
            <a:ext cx="644116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07" y="1435103"/>
            <a:ext cx="37906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15026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800601"/>
            <a:ext cx="691324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612775"/>
            <a:ext cx="691324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367339"/>
            <a:ext cx="691324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83927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829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74642"/>
            <a:ext cx="2592467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74642"/>
            <a:ext cx="7585366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73196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2130425"/>
            <a:ext cx="9794875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788" y="3886200"/>
            <a:ext cx="80645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2650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7228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9638" y="4406900"/>
            <a:ext cx="9794875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9638" y="2906713"/>
            <a:ext cx="9794875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5340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545801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263" y="1600200"/>
            <a:ext cx="51085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37238" y="1600200"/>
            <a:ext cx="51085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908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535113"/>
            <a:ext cx="509111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263" y="2174875"/>
            <a:ext cx="509111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113" y="1535113"/>
            <a:ext cx="50927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113" y="2174875"/>
            <a:ext cx="50927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32740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4526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6854880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3" y="273050"/>
            <a:ext cx="3790950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5325" y="273050"/>
            <a:ext cx="644048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263" y="1435100"/>
            <a:ext cx="3790950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2266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9013" y="4800600"/>
            <a:ext cx="691197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9013" y="612775"/>
            <a:ext cx="691197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9013" y="5367338"/>
            <a:ext cx="691197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858649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44028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425" y="274638"/>
            <a:ext cx="2592388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263" y="274638"/>
            <a:ext cx="7624762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385087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3600" y="2130425"/>
            <a:ext cx="9794875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788" y="3886200"/>
            <a:ext cx="80645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737991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1211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16" y="273050"/>
            <a:ext cx="37906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22" y="273065"/>
            <a:ext cx="644116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16" y="1435104"/>
            <a:ext cx="37906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1913176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9638" y="4406900"/>
            <a:ext cx="9794875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09638" y="2906713"/>
            <a:ext cx="9794875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22310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263" y="1600200"/>
            <a:ext cx="51085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37238" y="1600200"/>
            <a:ext cx="5108575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2583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535113"/>
            <a:ext cx="509111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263" y="2174875"/>
            <a:ext cx="509111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113" y="1535113"/>
            <a:ext cx="50927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113" y="2174875"/>
            <a:ext cx="50927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91103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1113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0094361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263" y="273050"/>
            <a:ext cx="3790950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5325" y="273050"/>
            <a:ext cx="644048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263" y="1435100"/>
            <a:ext cx="3790950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780043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9013" y="4800600"/>
            <a:ext cx="691197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9013" y="612775"/>
            <a:ext cx="691197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9013" y="5367338"/>
            <a:ext cx="691197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0592545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54994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425" y="274638"/>
            <a:ext cx="2592388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263" y="274638"/>
            <a:ext cx="7624762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1245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64156" y="2130426"/>
            <a:ext cx="9793764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28311" y="3886200"/>
            <a:ext cx="806545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89083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800601"/>
            <a:ext cx="691324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612775"/>
            <a:ext cx="691324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367339"/>
            <a:ext cx="691324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97684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53954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164" y="4406901"/>
            <a:ext cx="9793764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10164" y="2906713"/>
            <a:ext cx="9793764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35726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6104" y="1600201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57055" y="1600201"/>
            <a:ext cx="5088916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18150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535113"/>
            <a:ext cx="5090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76104" y="2174875"/>
            <a:ext cx="5090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853055" y="1535113"/>
            <a:ext cx="5092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53055" y="2174875"/>
            <a:ext cx="5092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28936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45664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84164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6105" y="273050"/>
            <a:ext cx="379068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04811" y="273051"/>
            <a:ext cx="644116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76105" y="1435101"/>
            <a:ext cx="379068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07346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8407" y="4800600"/>
            <a:ext cx="6913245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258407" y="612775"/>
            <a:ext cx="6913245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258407" y="5367338"/>
            <a:ext cx="6913245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96923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7805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53504" y="274639"/>
            <a:ext cx="2592467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6104" y="274639"/>
            <a:ext cx="7585366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97526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6.jpe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Pooria\Desktop\liguid net.png"/>
          <p:cNvPicPr>
            <a:picLocks noChangeAspect="1" noChangeArrowheads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21" y="0"/>
            <a:ext cx="1152207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600207"/>
            <a:ext cx="1036986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356363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356363"/>
            <a:ext cx="3648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356363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146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_jobs\Campaign\Liquid_Net\PPT\images\10Slides_with_water_wave\02.jp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-1" y="0"/>
            <a:ext cx="115220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600207"/>
            <a:ext cx="1036986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356362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614129-9C66-4104-A8CE-F8CCB429B20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356362"/>
            <a:ext cx="3648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356362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A06436-78B5-436F-9ACE-E35C255E43A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8852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_jobs\Campaign\Liquid_Net\PPT\images\10Slides_with_water_wave\bg_opacity.jp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0" y="381000"/>
            <a:ext cx="11522075" cy="632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600207"/>
            <a:ext cx="1036986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356362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356362"/>
            <a:ext cx="3648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356362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882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D:\_jobs\Campaign\Liquid_Net\PPT\images\10Slides_with_water_wave\09.jp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4" y="152400"/>
            <a:ext cx="11522074" cy="6484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600207"/>
            <a:ext cx="1036986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356362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6FC1FF-0869-4A8C-AF2E-2B8473C969B9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356362"/>
            <a:ext cx="3648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356362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3403654-7772-4663-9065-D200666FDF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1647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_jobs\Campaign\Liquid_Net\PPT\images\10Slides_with_water_wave\05.jp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-1" y="0"/>
            <a:ext cx="115220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600207"/>
            <a:ext cx="1036986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356362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356362"/>
            <a:ext cx="3648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356362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78269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 descr="D:\_jobs\Campaign\Liquid_Net\PPT\images\10Slides_with_water_wave\bg_opacity.jp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0" y="381000"/>
            <a:ext cx="11522075" cy="6324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600204"/>
            <a:ext cx="1036986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356354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98B1E5-A53E-4483-8AE9-DCF95AA794B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356354"/>
            <a:ext cx="3648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356354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F78756-F310-4114-BA51-93AC60A27FF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9064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263" y="274638"/>
            <a:ext cx="1036955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600200"/>
            <a:ext cx="1036955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6356350"/>
            <a:ext cx="2687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4E7D895-91C6-42A1-8D84-26B1B0F0E210}" type="datetimeFigureOut">
              <a:rPr lang="en-US" smtClean="0"/>
              <a:t>5/17/201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7000" y="6356350"/>
            <a:ext cx="3648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8175" y="6356350"/>
            <a:ext cx="2687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5CBF35A-2B23-444F-9C74-A3133F3C9A5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20963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263" y="274638"/>
            <a:ext cx="1036955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263" y="1600200"/>
            <a:ext cx="1036955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263" y="6356350"/>
            <a:ext cx="26876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6C409A-0D63-42F7-9838-7EA23654FFD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7000" y="6356350"/>
            <a:ext cx="36480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8175" y="6356350"/>
            <a:ext cx="268763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30E7D8-75F0-49EC-9ACA-DB4E2551732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41" descr="thankyou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0" y="228601"/>
            <a:ext cx="11522075" cy="662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759442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_jobs\Campaign\Liquid_Net\PPT\images\10Slides_with_water_wave\05.jpg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-1" y="0"/>
            <a:ext cx="1152207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6104" y="274638"/>
            <a:ext cx="10369868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6104" y="1600201"/>
            <a:ext cx="10369868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76104" y="6356351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EA71C3-1F01-4476-96FE-185549A6DBE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5/17/201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936709" y="6356351"/>
            <a:ext cx="364865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257487" y="6356351"/>
            <a:ext cx="268848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B7DF495-51E7-4B80-B5C1-FEDA98D785A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12840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2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0" Type="http://schemas.openxmlformats.org/officeDocument/2006/relationships/image" Target="../media/image20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8.xml"/><Relationship Id="rId1" Type="http://schemas.openxmlformats.org/officeDocument/2006/relationships/tags" Target="../tags/tag1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27.jpe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73.xml"/><Relationship Id="rId1" Type="http://schemas.openxmlformats.org/officeDocument/2006/relationships/tags" Target="../tags/tag2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88053" y="1828810"/>
            <a:ext cx="7201297" cy="1470025"/>
          </a:xfrm>
        </p:spPr>
        <p:txBody>
          <a:bodyPr>
            <a:normAutofit/>
          </a:bodyPr>
          <a:lstStyle/>
          <a:p>
            <a:r>
              <a:rPr lang="en-US" sz="3600" dirty="0" smtClean="0"/>
              <a:t>Pooria Kamran Rashani</a:t>
            </a:r>
            <a:endParaRPr lang="en-US" sz="36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56190" y="2895600"/>
            <a:ext cx="5953072" cy="1066800"/>
          </a:xfrm>
        </p:spPr>
        <p:txBody>
          <a:bodyPr>
            <a:normAutofit/>
          </a:bodyPr>
          <a:lstStyle/>
          <a:p>
            <a:pPr algn="l"/>
            <a:r>
              <a:rPr lang="en-US" sz="2400" dirty="0" smtClean="0"/>
              <a:t>Advanced Requirements Engineering </a:t>
            </a:r>
            <a:br>
              <a:rPr lang="en-US" sz="2400" dirty="0" smtClean="0"/>
            </a:br>
            <a:r>
              <a:rPr lang="en-US" sz="2400" dirty="0" smtClean="0"/>
              <a:t>Spring 2012</a:t>
            </a:r>
            <a:endParaRPr lang="en-US" sz="2400" dirty="0"/>
          </a:p>
        </p:txBody>
      </p:sp>
      <p:pic>
        <p:nvPicPr>
          <p:cNvPr id="2050" name="Picture 2" descr="C:\Users\Pooria\Desktop\logo liquid net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7637" y="685800"/>
            <a:ext cx="4128743" cy="91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9696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80086" y="2819400"/>
            <a:ext cx="10369868" cy="1143000"/>
          </a:xfrm>
        </p:spPr>
        <p:txBody>
          <a:bodyPr/>
          <a:lstStyle/>
          <a:p>
            <a:r>
              <a:rPr lang="en-US" dirty="0" smtClean="0">
                <a:solidFill>
                  <a:srgbClr val="002060"/>
                </a:solidFill>
              </a:rPr>
              <a:t>Thank You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133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1" name="Title 5"/>
          <p:cNvSpPr>
            <a:spLocks/>
          </p:cNvSpPr>
          <p:nvPr/>
        </p:nvSpPr>
        <p:spPr bwMode="auto">
          <a:xfrm>
            <a:off x="304800" y="241928"/>
            <a:ext cx="10879138" cy="826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 smtClean="0">
                <a:solidFill>
                  <a:srgbClr val="666666"/>
                </a:solidFill>
                <a:ea typeface="Geneva" pitchFamily="84" charset="-128"/>
              </a:rPr>
              <a:t>Liquid Net</a:t>
            </a:r>
            <a:r>
              <a:rPr lang="en-US" sz="2800" b="1" dirty="0">
                <a:solidFill>
                  <a:srgbClr val="666666"/>
                </a:solidFill>
                <a:ea typeface="Geneva" pitchFamily="84" charset="-128"/>
              </a:rPr>
              <a:t> </a:t>
            </a:r>
            <a:r>
              <a:rPr lang="en-US" sz="2800" b="1" dirty="0" smtClean="0">
                <a:solidFill>
                  <a:srgbClr val="666666"/>
                </a:solidFill>
                <a:ea typeface="Geneva" pitchFamily="84" charset="-128"/>
              </a:rPr>
              <a:t>solution Requirements</a:t>
            </a: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srgbClr val="666666"/>
              </a:solidFill>
              <a:ea typeface="Geneva" pitchFamily="84" charset="-128"/>
            </a:endParaRPr>
          </a:p>
        </p:txBody>
      </p:sp>
      <p:sp>
        <p:nvSpPr>
          <p:cNvPr id="76802" name="Rectangle 64"/>
          <p:cNvSpPr>
            <a:spLocks noChangeArrowheads="1"/>
          </p:cNvSpPr>
          <p:nvPr/>
        </p:nvSpPr>
        <p:spPr bwMode="auto">
          <a:xfrm>
            <a:off x="7985128" y="1774144"/>
            <a:ext cx="3216275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ea typeface="Geneva" pitchFamily="84" charset="-128"/>
              </a:rPr>
              <a:t>End-to-end network capabilities</a:t>
            </a:r>
          </a:p>
        </p:txBody>
      </p:sp>
      <p:sp>
        <p:nvSpPr>
          <p:cNvPr id="76803" name="Rectangle 65"/>
          <p:cNvSpPr>
            <a:spLocks noChangeArrowheads="1"/>
          </p:cNvSpPr>
          <p:nvPr/>
        </p:nvSpPr>
        <p:spPr bwMode="auto">
          <a:xfrm>
            <a:off x="1455938" y="1512055"/>
            <a:ext cx="120875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0000"/>
                </a:solidFill>
                <a:ea typeface="Geneva" pitchFamily="84" charset="-128"/>
              </a:rPr>
              <a:t>Enablers</a:t>
            </a:r>
            <a:endParaRPr lang="en-US" sz="1600" b="1" dirty="0">
              <a:solidFill>
                <a:srgbClr val="000000"/>
              </a:solidFill>
              <a:ea typeface="Geneva" pitchFamily="84" charset="-128"/>
            </a:endParaRPr>
          </a:p>
        </p:txBody>
      </p:sp>
      <p:grpSp>
        <p:nvGrpSpPr>
          <p:cNvPr id="76804" name="Group 1072"/>
          <p:cNvGrpSpPr>
            <a:grpSpLocks/>
          </p:cNvGrpSpPr>
          <p:nvPr/>
        </p:nvGrpSpPr>
        <p:grpSpPr bwMode="auto">
          <a:xfrm>
            <a:off x="3343278" y="3654130"/>
            <a:ext cx="3217863" cy="1011395"/>
            <a:chOff x="2106" y="2175"/>
            <a:chExt cx="2027" cy="602"/>
          </a:xfrm>
        </p:grpSpPr>
        <p:sp>
          <p:nvSpPr>
            <p:cNvPr id="76838" name="Freeform 230"/>
            <p:cNvSpPr>
              <a:spLocks/>
            </p:cNvSpPr>
            <p:nvPr/>
          </p:nvSpPr>
          <p:spPr bwMode="auto">
            <a:xfrm rot="-1911068">
              <a:off x="2145" y="2195"/>
              <a:ext cx="1988" cy="582"/>
            </a:xfrm>
            <a:custGeom>
              <a:avLst/>
              <a:gdLst>
                <a:gd name="T0" fmla="*/ 0 w 5052253"/>
                <a:gd name="T1" fmla="*/ 0 h 790272"/>
                <a:gd name="T2" fmla="*/ 1 w 5052253"/>
                <a:gd name="T3" fmla="*/ 0 h 790272"/>
                <a:gd name="T4" fmla="*/ 3 w 5052253"/>
                <a:gd name="T5" fmla="*/ 0 h 790272"/>
                <a:gd name="T6" fmla="*/ 3 w 5052253"/>
                <a:gd name="T7" fmla="*/ 0 h 790272"/>
                <a:gd name="T8" fmla="*/ 1 w 5052253"/>
                <a:gd name="T9" fmla="*/ 0 h 790272"/>
                <a:gd name="T10" fmla="*/ 0 w 5052253"/>
                <a:gd name="T11" fmla="*/ 0 h 790272"/>
                <a:gd name="T12" fmla="*/ 0 w 5052253"/>
                <a:gd name="T13" fmla="*/ 0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C8CACE"/>
                </a:gs>
                <a:gs pos="100000">
                  <a:srgbClr val="A3A6AD">
                    <a:alpha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6839" name="Freeform 230"/>
            <p:cNvSpPr>
              <a:spLocks/>
            </p:cNvSpPr>
            <p:nvPr/>
          </p:nvSpPr>
          <p:spPr bwMode="auto">
            <a:xfrm rot="-1865938">
              <a:off x="2106" y="2175"/>
              <a:ext cx="1988" cy="582"/>
            </a:xfrm>
            <a:custGeom>
              <a:avLst/>
              <a:gdLst>
                <a:gd name="T0" fmla="*/ 0 w 5052253"/>
                <a:gd name="T1" fmla="*/ 0 h 790272"/>
                <a:gd name="T2" fmla="*/ 1 w 5052253"/>
                <a:gd name="T3" fmla="*/ 0 h 790272"/>
                <a:gd name="T4" fmla="*/ 3 w 5052253"/>
                <a:gd name="T5" fmla="*/ 0 h 790272"/>
                <a:gd name="T6" fmla="*/ 3 w 5052253"/>
                <a:gd name="T7" fmla="*/ 0 h 790272"/>
                <a:gd name="T8" fmla="*/ 1 w 5052253"/>
                <a:gd name="T9" fmla="*/ 0 h 790272"/>
                <a:gd name="T10" fmla="*/ 0 w 5052253"/>
                <a:gd name="T11" fmla="*/ 0 h 790272"/>
                <a:gd name="T12" fmla="*/ 0 w 5052253"/>
                <a:gd name="T13" fmla="*/ 0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7F10A2"/>
                </a:gs>
                <a:gs pos="100000">
                  <a:srgbClr val="B270C7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76805" name="Group 1075"/>
          <p:cNvGrpSpPr>
            <a:grpSpLocks/>
          </p:cNvGrpSpPr>
          <p:nvPr/>
        </p:nvGrpSpPr>
        <p:grpSpPr bwMode="auto">
          <a:xfrm>
            <a:off x="3200400" y="2478089"/>
            <a:ext cx="3155950" cy="1070197"/>
            <a:chOff x="2016" y="1475"/>
            <a:chExt cx="1988" cy="637"/>
          </a:xfrm>
        </p:grpSpPr>
        <p:sp>
          <p:nvSpPr>
            <p:cNvPr id="76836" name="Freeform 230"/>
            <p:cNvSpPr>
              <a:spLocks/>
            </p:cNvSpPr>
            <p:nvPr/>
          </p:nvSpPr>
          <p:spPr bwMode="auto">
            <a:xfrm rot="1911068" flipV="1">
              <a:off x="2016" y="1530"/>
              <a:ext cx="1988" cy="582"/>
            </a:xfrm>
            <a:custGeom>
              <a:avLst/>
              <a:gdLst>
                <a:gd name="T0" fmla="*/ 37 w 5052253"/>
                <a:gd name="T1" fmla="*/ 25 h 790272"/>
                <a:gd name="T2" fmla="*/ 1133 w 5052253"/>
                <a:gd name="T3" fmla="*/ 266 h 790272"/>
                <a:gd name="T4" fmla="*/ 2675 w 5052253"/>
                <a:gd name="T5" fmla="*/ 67 h 790272"/>
                <a:gd name="T6" fmla="*/ 2685 w 5052253"/>
                <a:gd name="T7" fmla="*/ 100 h 790272"/>
                <a:gd name="T8" fmla="*/ 1128 w 5052253"/>
                <a:gd name="T9" fmla="*/ 367 h 790272"/>
                <a:gd name="T10" fmla="*/ 0 w 5052253"/>
                <a:gd name="T11" fmla="*/ 272 h 790272"/>
                <a:gd name="T12" fmla="*/ 37 w 5052253"/>
                <a:gd name="T13" fmla="*/ 25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C8CACE"/>
                </a:gs>
                <a:gs pos="100000">
                  <a:srgbClr val="A3A6AD">
                    <a:alpha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6837" name="Freeform 230"/>
            <p:cNvSpPr>
              <a:spLocks/>
            </p:cNvSpPr>
            <p:nvPr/>
          </p:nvSpPr>
          <p:spPr bwMode="auto">
            <a:xfrm rot="1865938" flipV="1">
              <a:off x="2016" y="1475"/>
              <a:ext cx="1988" cy="582"/>
            </a:xfrm>
            <a:custGeom>
              <a:avLst/>
              <a:gdLst>
                <a:gd name="T0" fmla="*/ 37 w 5052253"/>
                <a:gd name="T1" fmla="*/ 25 h 790272"/>
                <a:gd name="T2" fmla="*/ 1133 w 5052253"/>
                <a:gd name="T3" fmla="*/ 266 h 790272"/>
                <a:gd name="T4" fmla="*/ 2675 w 5052253"/>
                <a:gd name="T5" fmla="*/ 67 h 790272"/>
                <a:gd name="T6" fmla="*/ 2685 w 5052253"/>
                <a:gd name="T7" fmla="*/ 100 h 790272"/>
                <a:gd name="T8" fmla="*/ 1128 w 5052253"/>
                <a:gd name="T9" fmla="*/ 367 h 790272"/>
                <a:gd name="T10" fmla="*/ 0 w 5052253"/>
                <a:gd name="T11" fmla="*/ 272 h 790272"/>
                <a:gd name="T12" fmla="*/ 37 w 5052253"/>
                <a:gd name="T13" fmla="*/ 25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7F10A2"/>
                </a:gs>
                <a:gs pos="100000">
                  <a:srgbClr val="B270C7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76806" name="Group 1074"/>
          <p:cNvGrpSpPr>
            <a:grpSpLocks/>
          </p:cNvGrpSpPr>
          <p:nvPr/>
        </p:nvGrpSpPr>
        <p:grpSpPr bwMode="auto">
          <a:xfrm>
            <a:off x="3294063" y="3062749"/>
            <a:ext cx="3160712" cy="1071878"/>
            <a:chOff x="2075" y="1823"/>
            <a:chExt cx="1991" cy="638"/>
          </a:xfrm>
        </p:grpSpPr>
        <p:sp>
          <p:nvSpPr>
            <p:cNvPr id="76834" name="Freeform 230"/>
            <p:cNvSpPr>
              <a:spLocks/>
            </p:cNvSpPr>
            <p:nvPr/>
          </p:nvSpPr>
          <p:spPr bwMode="auto">
            <a:xfrm rot="1210974" flipV="1">
              <a:off x="2075" y="1879"/>
              <a:ext cx="1988" cy="582"/>
            </a:xfrm>
            <a:custGeom>
              <a:avLst/>
              <a:gdLst>
                <a:gd name="T0" fmla="*/ 0 w 5052253"/>
                <a:gd name="T1" fmla="*/ 0 h 790272"/>
                <a:gd name="T2" fmla="*/ 1 w 5052253"/>
                <a:gd name="T3" fmla="*/ 0 h 790272"/>
                <a:gd name="T4" fmla="*/ 2 w 5052253"/>
                <a:gd name="T5" fmla="*/ 0 h 790272"/>
                <a:gd name="T6" fmla="*/ 2 w 5052253"/>
                <a:gd name="T7" fmla="*/ 0 h 790272"/>
                <a:gd name="T8" fmla="*/ 1 w 5052253"/>
                <a:gd name="T9" fmla="*/ 0 h 790272"/>
                <a:gd name="T10" fmla="*/ 0 w 5052253"/>
                <a:gd name="T11" fmla="*/ 0 h 790272"/>
                <a:gd name="T12" fmla="*/ 0 w 5052253"/>
                <a:gd name="T13" fmla="*/ 0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C8CACE"/>
                </a:gs>
                <a:gs pos="100000">
                  <a:srgbClr val="A3A6AD">
                    <a:alpha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6835" name="Freeform 230"/>
            <p:cNvSpPr>
              <a:spLocks/>
            </p:cNvSpPr>
            <p:nvPr/>
          </p:nvSpPr>
          <p:spPr bwMode="auto">
            <a:xfrm rot="1165844" flipV="1">
              <a:off x="2078" y="1823"/>
              <a:ext cx="1988" cy="582"/>
            </a:xfrm>
            <a:custGeom>
              <a:avLst/>
              <a:gdLst>
                <a:gd name="T0" fmla="*/ 0 w 5052253"/>
                <a:gd name="T1" fmla="*/ 0 h 790272"/>
                <a:gd name="T2" fmla="*/ 1 w 5052253"/>
                <a:gd name="T3" fmla="*/ 0 h 790272"/>
                <a:gd name="T4" fmla="*/ 2 w 5052253"/>
                <a:gd name="T5" fmla="*/ 0 h 790272"/>
                <a:gd name="T6" fmla="*/ 2 w 5052253"/>
                <a:gd name="T7" fmla="*/ 0 h 790272"/>
                <a:gd name="T8" fmla="*/ 1 w 5052253"/>
                <a:gd name="T9" fmla="*/ 0 h 790272"/>
                <a:gd name="T10" fmla="*/ 0 w 5052253"/>
                <a:gd name="T11" fmla="*/ 0 h 790272"/>
                <a:gd name="T12" fmla="*/ 0 w 5052253"/>
                <a:gd name="T13" fmla="*/ 0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7F10A2"/>
                </a:gs>
                <a:gs pos="100000">
                  <a:srgbClr val="B270C7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76807" name="Group 1073"/>
          <p:cNvGrpSpPr>
            <a:grpSpLocks/>
          </p:cNvGrpSpPr>
          <p:nvPr/>
        </p:nvGrpSpPr>
        <p:grpSpPr bwMode="auto">
          <a:xfrm>
            <a:off x="3271841" y="3067789"/>
            <a:ext cx="3208337" cy="1024836"/>
            <a:chOff x="2061" y="1826"/>
            <a:chExt cx="2021" cy="610"/>
          </a:xfrm>
        </p:grpSpPr>
        <p:sp>
          <p:nvSpPr>
            <p:cNvPr id="76832" name="Freeform 230"/>
            <p:cNvSpPr>
              <a:spLocks/>
            </p:cNvSpPr>
            <p:nvPr/>
          </p:nvSpPr>
          <p:spPr bwMode="auto">
            <a:xfrm rot="-1134001">
              <a:off x="2094" y="1854"/>
              <a:ext cx="1988" cy="582"/>
            </a:xfrm>
            <a:custGeom>
              <a:avLst/>
              <a:gdLst>
                <a:gd name="T0" fmla="*/ 0 w 5052253"/>
                <a:gd name="T1" fmla="*/ 0 h 790272"/>
                <a:gd name="T2" fmla="*/ 1 w 5052253"/>
                <a:gd name="T3" fmla="*/ 0 h 790272"/>
                <a:gd name="T4" fmla="*/ 3 w 5052253"/>
                <a:gd name="T5" fmla="*/ 0 h 790272"/>
                <a:gd name="T6" fmla="*/ 3 w 5052253"/>
                <a:gd name="T7" fmla="*/ 0 h 790272"/>
                <a:gd name="T8" fmla="*/ 1 w 5052253"/>
                <a:gd name="T9" fmla="*/ 0 h 790272"/>
                <a:gd name="T10" fmla="*/ 0 w 5052253"/>
                <a:gd name="T11" fmla="*/ 0 h 790272"/>
                <a:gd name="T12" fmla="*/ 0 w 5052253"/>
                <a:gd name="T13" fmla="*/ 0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C8CACE"/>
                </a:gs>
                <a:gs pos="100000">
                  <a:srgbClr val="A3A6AD">
                    <a:alpha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6833" name="Freeform 230"/>
            <p:cNvSpPr>
              <a:spLocks/>
            </p:cNvSpPr>
            <p:nvPr/>
          </p:nvSpPr>
          <p:spPr bwMode="auto">
            <a:xfrm rot="-1088871">
              <a:off x="2061" y="1826"/>
              <a:ext cx="1988" cy="582"/>
            </a:xfrm>
            <a:custGeom>
              <a:avLst/>
              <a:gdLst>
                <a:gd name="T0" fmla="*/ 0 w 5052253"/>
                <a:gd name="T1" fmla="*/ 0 h 790272"/>
                <a:gd name="T2" fmla="*/ 1 w 5052253"/>
                <a:gd name="T3" fmla="*/ 0 h 790272"/>
                <a:gd name="T4" fmla="*/ 3 w 5052253"/>
                <a:gd name="T5" fmla="*/ 0 h 790272"/>
                <a:gd name="T6" fmla="*/ 3 w 5052253"/>
                <a:gd name="T7" fmla="*/ 0 h 790272"/>
                <a:gd name="T8" fmla="*/ 1 w 5052253"/>
                <a:gd name="T9" fmla="*/ 0 h 790272"/>
                <a:gd name="T10" fmla="*/ 0 w 5052253"/>
                <a:gd name="T11" fmla="*/ 0 h 790272"/>
                <a:gd name="T12" fmla="*/ 0 w 5052253"/>
                <a:gd name="T13" fmla="*/ 0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7F10A2"/>
                </a:gs>
                <a:gs pos="100000">
                  <a:srgbClr val="B270C7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76808" name="Group 1076"/>
          <p:cNvGrpSpPr>
            <a:grpSpLocks/>
          </p:cNvGrpSpPr>
          <p:nvPr/>
        </p:nvGrpSpPr>
        <p:grpSpPr bwMode="auto">
          <a:xfrm>
            <a:off x="450850" y="1873267"/>
            <a:ext cx="3536950" cy="3386999"/>
            <a:chOff x="284" y="1115"/>
            <a:chExt cx="2228" cy="2016"/>
          </a:xfrm>
        </p:grpSpPr>
        <p:sp>
          <p:nvSpPr>
            <p:cNvPr id="76820" name="AutoShape 42"/>
            <p:cNvSpPr>
              <a:spLocks noChangeArrowheads="1"/>
            </p:cNvSpPr>
            <p:nvPr/>
          </p:nvSpPr>
          <p:spPr bwMode="auto">
            <a:xfrm>
              <a:off x="288" y="2698"/>
              <a:ext cx="2116" cy="433"/>
            </a:xfrm>
            <a:prstGeom prst="roundRect">
              <a:avLst>
                <a:gd name="adj" fmla="val 20556"/>
              </a:avLst>
            </a:prstGeom>
            <a:gradFill rotWithShape="1">
              <a:gsLst>
                <a:gs pos="0">
                  <a:srgbClr val="B270C7"/>
                </a:gs>
                <a:gs pos="100000">
                  <a:srgbClr val="7F10A2"/>
                </a:gs>
              </a:gsLst>
              <a:lin ang="5400000" scaled="1"/>
            </a:gradFill>
            <a:ln w="28575">
              <a:solidFill>
                <a:srgbClr val="7F10A2"/>
              </a:solidFill>
              <a:miter lim="800000"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fontAlgn="base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>
                  <a:srgbClr val="FF8200"/>
                </a:buClr>
                <a:buSzPct val="110000"/>
              </a:pPr>
              <a:endParaRPr lang="en-US" sz="1600">
                <a:solidFill>
                  <a:srgbClr val="FFFFFF"/>
                </a:solidFill>
                <a:ea typeface="Geneva" pitchFamily="84" charset="-128"/>
              </a:endParaRPr>
            </a:p>
          </p:txBody>
        </p:sp>
        <p:sp>
          <p:nvSpPr>
            <p:cNvPr id="76821" name="AutoShape 42"/>
            <p:cNvSpPr>
              <a:spLocks noChangeArrowheads="1"/>
            </p:cNvSpPr>
            <p:nvPr/>
          </p:nvSpPr>
          <p:spPr bwMode="auto">
            <a:xfrm>
              <a:off x="284" y="2166"/>
              <a:ext cx="2120" cy="433"/>
            </a:xfrm>
            <a:prstGeom prst="roundRect">
              <a:avLst>
                <a:gd name="adj" fmla="val 20556"/>
              </a:avLst>
            </a:prstGeom>
            <a:gradFill rotWithShape="1">
              <a:gsLst>
                <a:gs pos="0">
                  <a:srgbClr val="B270C7"/>
                </a:gs>
                <a:gs pos="100000">
                  <a:srgbClr val="7F10A2"/>
                </a:gs>
              </a:gsLst>
              <a:lin ang="5400000" scaled="1"/>
            </a:gradFill>
            <a:ln w="28575">
              <a:solidFill>
                <a:srgbClr val="7F10A2"/>
              </a:solidFill>
              <a:miter lim="800000"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fontAlgn="base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>
                  <a:srgbClr val="FF8200"/>
                </a:buClr>
                <a:buSzPct val="110000"/>
              </a:pPr>
              <a:endParaRPr lang="en-US" sz="1600">
                <a:solidFill>
                  <a:srgbClr val="FFFFFF"/>
                </a:solidFill>
                <a:ea typeface="Geneva" pitchFamily="84" charset="-128"/>
              </a:endParaRPr>
            </a:p>
          </p:txBody>
        </p:sp>
        <p:sp>
          <p:nvSpPr>
            <p:cNvPr id="76822" name="AutoShape 42"/>
            <p:cNvSpPr>
              <a:spLocks noChangeArrowheads="1"/>
            </p:cNvSpPr>
            <p:nvPr/>
          </p:nvSpPr>
          <p:spPr bwMode="auto">
            <a:xfrm>
              <a:off x="284" y="1642"/>
              <a:ext cx="2120" cy="433"/>
            </a:xfrm>
            <a:prstGeom prst="roundRect">
              <a:avLst>
                <a:gd name="adj" fmla="val 20556"/>
              </a:avLst>
            </a:prstGeom>
            <a:gradFill rotWithShape="1">
              <a:gsLst>
                <a:gs pos="0">
                  <a:srgbClr val="B270C7"/>
                </a:gs>
                <a:gs pos="100000">
                  <a:srgbClr val="7F10A2"/>
                </a:gs>
              </a:gsLst>
              <a:lin ang="5400000" scaled="1"/>
            </a:gradFill>
            <a:ln w="28575">
              <a:solidFill>
                <a:srgbClr val="7F10A2"/>
              </a:solidFill>
              <a:miter lim="800000"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fontAlgn="base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>
                  <a:srgbClr val="FF8200"/>
                </a:buClr>
                <a:buSzPct val="110000"/>
              </a:pPr>
              <a:endParaRPr lang="en-US" sz="1600">
                <a:solidFill>
                  <a:srgbClr val="FFFFFF"/>
                </a:solidFill>
                <a:ea typeface="Geneva" pitchFamily="84" charset="-128"/>
              </a:endParaRPr>
            </a:p>
          </p:txBody>
        </p:sp>
        <p:sp>
          <p:nvSpPr>
            <p:cNvPr id="76823" name="AutoShape 42"/>
            <p:cNvSpPr>
              <a:spLocks noChangeArrowheads="1"/>
            </p:cNvSpPr>
            <p:nvPr/>
          </p:nvSpPr>
          <p:spPr bwMode="auto">
            <a:xfrm>
              <a:off x="292" y="1115"/>
              <a:ext cx="2112" cy="433"/>
            </a:xfrm>
            <a:prstGeom prst="roundRect">
              <a:avLst>
                <a:gd name="adj" fmla="val 20556"/>
              </a:avLst>
            </a:prstGeom>
            <a:gradFill rotWithShape="1">
              <a:gsLst>
                <a:gs pos="0">
                  <a:srgbClr val="B270C7"/>
                </a:gs>
                <a:gs pos="100000">
                  <a:srgbClr val="7F10A2"/>
                </a:gs>
              </a:gsLst>
              <a:lin ang="5400000" scaled="1"/>
            </a:gradFill>
            <a:ln w="28575">
              <a:solidFill>
                <a:srgbClr val="7F10A2"/>
              </a:solidFill>
              <a:miter lim="800000"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fontAlgn="base">
                <a:lnSpc>
                  <a:spcPct val="90000"/>
                </a:lnSpc>
                <a:spcBef>
                  <a:spcPct val="30000"/>
                </a:spcBef>
                <a:spcAft>
                  <a:spcPct val="0"/>
                </a:spcAft>
                <a:buClr>
                  <a:srgbClr val="FF8200"/>
                </a:buClr>
                <a:buSzPct val="110000"/>
              </a:pPr>
              <a:endParaRPr lang="en-US" sz="1600">
                <a:solidFill>
                  <a:srgbClr val="FFFFFF"/>
                </a:solidFill>
                <a:ea typeface="Geneva" pitchFamily="84" charset="-128"/>
              </a:endParaRPr>
            </a:p>
          </p:txBody>
        </p:sp>
        <p:sp>
          <p:nvSpPr>
            <p:cNvPr id="76824" name="Rectangle 58"/>
            <p:cNvSpPr>
              <a:spLocks noChangeArrowheads="1"/>
            </p:cNvSpPr>
            <p:nvPr/>
          </p:nvSpPr>
          <p:spPr bwMode="auto">
            <a:xfrm>
              <a:off x="784" y="1175"/>
              <a:ext cx="1728" cy="2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FFFFFF"/>
                  </a:solidFill>
                  <a:ea typeface="Geneva" pitchFamily="84" charset="-128"/>
                </a:rPr>
                <a:t>Self-aware and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FFFFFF"/>
                  </a:solidFill>
                  <a:ea typeface="Geneva" pitchFamily="84" charset="-128"/>
                </a:rPr>
                <a:t>Self-adapting</a:t>
              </a:r>
            </a:p>
          </p:txBody>
        </p:sp>
        <p:sp>
          <p:nvSpPr>
            <p:cNvPr id="76825" name="Rectangle 59"/>
            <p:cNvSpPr>
              <a:spLocks noChangeArrowheads="1"/>
            </p:cNvSpPr>
            <p:nvPr/>
          </p:nvSpPr>
          <p:spPr bwMode="auto">
            <a:xfrm>
              <a:off x="779" y="1741"/>
              <a:ext cx="1728" cy="2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pPr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FFFFFF"/>
                  </a:solidFill>
                  <a:ea typeface="Geneva" pitchFamily="84" charset="-128"/>
                </a:rPr>
                <a:t>Software defined apps</a:t>
              </a:r>
              <a:br>
                <a:rPr lang="en-US" sz="1600">
                  <a:solidFill>
                    <a:srgbClr val="FFFFFF"/>
                  </a:solidFill>
                  <a:ea typeface="Geneva" pitchFamily="84" charset="-128"/>
                </a:rPr>
              </a:br>
              <a:r>
                <a:rPr lang="en-US" sz="1600">
                  <a:solidFill>
                    <a:srgbClr val="FFFFFF"/>
                  </a:solidFill>
                  <a:ea typeface="Geneva" pitchFamily="84" charset="-128"/>
                </a:rPr>
                <a:t>on multi-purpose hardware</a:t>
              </a:r>
            </a:p>
          </p:txBody>
        </p:sp>
        <p:sp>
          <p:nvSpPr>
            <p:cNvPr id="76826" name="Rectangle 61"/>
            <p:cNvSpPr>
              <a:spLocks noChangeArrowheads="1"/>
            </p:cNvSpPr>
            <p:nvPr/>
          </p:nvSpPr>
          <p:spPr bwMode="auto">
            <a:xfrm>
              <a:off x="784" y="2844"/>
              <a:ext cx="1728" cy="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FFFFFF"/>
                  </a:solidFill>
                  <a:ea typeface="Geneva" pitchFamily="84" charset="-128"/>
                </a:rPr>
                <a:t>Evolutionary</a:t>
              </a:r>
            </a:p>
          </p:txBody>
        </p:sp>
        <p:pic>
          <p:nvPicPr>
            <p:cNvPr id="76827" name="Picture 28" descr="DollarBadge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352" y="2748"/>
              <a:ext cx="327" cy="32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6828" name="Picture 29" descr="Connections.pn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58" y="2220"/>
              <a:ext cx="325" cy="32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6829" name="Picture 30" descr="Machines.pn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52" y="1687"/>
              <a:ext cx="330" cy="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76830" name="Picture 31" descr="brain.png"/>
            <p:cNvPicPr>
              <a:picLocks noChangeAspect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52" y="1166"/>
              <a:ext cx="336" cy="33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6831" name="Rectangle 60"/>
            <p:cNvSpPr>
              <a:spLocks noChangeArrowheads="1"/>
            </p:cNvSpPr>
            <p:nvPr/>
          </p:nvSpPr>
          <p:spPr bwMode="auto">
            <a:xfrm>
              <a:off x="784" y="2316"/>
              <a:ext cx="1728" cy="14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FFFFFF"/>
                  </a:solidFill>
                  <a:ea typeface="Geneva" pitchFamily="84" charset="-128"/>
                </a:rPr>
                <a:t>Inter-linked architecture</a:t>
              </a:r>
            </a:p>
          </p:txBody>
        </p:sp>
      </p:grpSp>
      <p:grpSp>
        <p:nvGrpSpPr>
          <p:cNvPr id="76809" name="Group 1080"/>
          <p:cNvGrpSpPr>
            <a:grpSpLocks/>
          </p:cNvGrpSpPr>
          <p:nvPr/>
        </p:nvGrpSpPr>
        <p:grpSpPr bwMode="auto">
          <a:xfrm>
            <a:off x="5922963" y="2281520"/>
            <a:ext cx="3300412" cy="1241564"/>
            <a:chOff x="3731" y="1358"/>
            <a:chExt cx="2079" cy="739"/>
          </a:xfrm>
        </p:grpSpPr>
        <p:sp>
          <p:nvSpPr>
            <p:cNvPr id="76818" name="Freeform 230"/>
            <p:cNvSpPr>
              <a:spLocks/>
            </p:cNvSpPr>
            <p:nvPr/>
          </p:nvSpPr>
          <p:spPr bwMode="auto">
            <a:xfrm rot="-610261">
              <a:off x="3762" y="1392"/>
              <a:ext cx="2048" cy="705"/>
            </a:xfrm>
            <a:custGeom>
              <a:avLst/>
              <a:gdLst>
                <a:gd name="T0" fmla="*/ 38 w 5052253"/>
                <a:gd name="T1" fmla="*/ 30 h 790272"/>
                <a:gd name="T2" fmla="*/ 1168 w 5052253"/>
                <a:gd name="T3" fmla="*/ 322 h 790272"/>
                <a:gd name="T4" fmla="*/ 2756 w 5052253"/>
                <a:gd name="T5" fmla="*/ 82 h 790272"/>
                <a:gd name="T6" fmla="*/ 2766 w 5052253"/>
                <a:gd name="T7" fmla="*/ 122 h 790272"/>
                <a:gd name="T8" fmla="*/ 1162 w 5052253"/>
                <a:gd name="T9" fmla="*/ 445 h 790272"/>
                <a:gd name="T10" fmla="*/ 0 w 5052253"/>
                <a:gd name="T11" fmla="*/ 329 h 790272"/>
                <a:gd name="T12" fmla="*/ 38 w 5052253"/>
                <a:gd name="T13" fmla="*/ 30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C8CACE"/>
                </a:gs>
                <a:gs pos="100000">
                  <a:srgbClr val="A3A6AD">
                    <a:alpha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6819" name="Freeform 230"/>
            <p:cNvSpPr>
              <a:spLocks/>
            </p:cNvSpPr>
            <p:nvPr/>
          </p:nvSpPr>
          <p:spPr bwMode="auto">
            <a:xfrm rot="-565131">
              <a:off x="3731" y="1358"/>
              <a:ext cx="2048" cy="705"/>
            </a:xfrm>
            <a:custGeom>
              <a:avLst/>
              <a:gdLst>
                <a:gd name="T0" fmla="*/ 38 w 5052253"/>
                <a:gd name="T1" fmla="*/ 30 h 790272"/>
                <a:gd name="T2" fmla="*/ 1168 w 5052253"/>
                <a:gd name="T3" fmla="*/ 322 h 790272"/>
                <a:gd name="T4" fmla="*/ 2756 w 5052253"/>
                <a:gd name="T5" fmla="*/ 82 h 790272"/>
                <a:gd name="T6" fmla="*/ 2766 w 5052253"/>
                <a:gd name="T7" fmla="*/ 122 h 790272"/>
                <a:gd name="T8" fmla="*/ 1162 w 5052253"/>
                <a:gd name="T9" fmla="*/ 445 h 790272"/>
                <a:gd name="T10" fmla="*/ 0 w 5052253"/>
                <a:gd name="T11" fmla="*/ 329 h 790272"/>
                <a:gd name="T12" fmla="*/ 38 w 5052253"/>
                <a:gd name="T13" fmla="*/ 30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7F10A2"/>
                </a:gs>
                <a:gs pos="100000">
                  <a:srgbClr val="FF8200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76810" name="Group 1070"/>
          <p:cNvGrpSpPr>
            <a:grpSpLocks/>
          </p:cNvGrpSpPr>
          <p:nvPr/>
        </p:nvGrpSpPr>
        <p:grpSpPr bwMode="auto">
          <a:xfrm rot="-260173">
            <a:off x="5851527" y="3548284"/>
            <a:ext cx="3292475" cy="1291966"/>
            <a:chOff x="4227" y="2165"/>
            <a:chExt cx="1494" cy="713"/>
          </a:xfrm>
        </p:grpSpPr>
        <p:sp>
          <p:nvSpPr>
            <p:cNvPr id="76816" name="Freeform 230"/>
            <p:cNvSpPr>
              <a:spLocks/>
            </p:cNvSpPr>
            <p:nvPr/>
          </p:nvSpPr>
          <p:spPr bwMode="auto">
            <a:xfrm rot="870434" flipV="1">
              <a:off x="4246" y="2224"/>
              <a:ext cx="1475" cy="654"/>
            </a:xfrm>
            <a:custGeom>
              <a:avLst/>
              <a:gdLst>
                <a:gd name="T0" fmla="*/ 27 w 5052253"/>
                <a:gd name="T1" fmla="*/ 28 h 790272"/>
                <a:gd name="T2" fmla="*/ 841 w 5052253"/>
                <a:gd name="T3" fmla="*/ 299 h 790272"/>
                <a:gd name="T4" fmla="*/ 1985 w 5052253"/>
                <a:gd name="T5" fmla="*/ 76 h 790272"/>
                <a:gd name="T6" fmla="*/ 1992 w 5052253"/>
                <a:gd name="T7" fmla="*/ 113 h 790272"/>
                <a:gd name="T8" fmla="*/ 837 w 5052253"/>
                <a:gd name="T9" fmla="*/ 412 h 790272"/>
                <a:gd name="T10" fmla="*/ 0 w 5052253"/>
                <a:gd name="T11" fmla="*/ 305 h 790272"/>
                <a:gd name="T12" fmla="*/ 27 w 5052253"/>
                <a:gd name="T13" fmla="*/ 28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C8CACE"/>
                </a:gs>
                <a:gs pos="100000">
                  <a:srgbClr val="A3A6AD">
                    <a:alpha val="50000"/>
                  </a:srgbClr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76817" name="Freeform 230"/>
            <p:cNvSpPr>
              <a:spLocks/>
            </p:cNvSpPr>
            <p:nvPr/>
          </p:nvSpPr>
          <p:spPr bwMode="auto">
            <a:xfrm rot="825304" flipV="1">
              <a:off x="4227" y="2165"/>
              <a:ext cx="1475" cy="654"/>
            </a:xfrm>
            <a:custGeom>
              <a:avLst/>
              <a:gdLst>
                <a:gd name="T0" fmla="*/ 27 w 5052253"/>
                <a:gd name="T1" fmla="*/ 28 h 790272"/>
                <a:gd name="T2" fmla="*/ 841 w 5052253"/>
                <a:gd name="T3" fmla="*/ 299 h 790272"/>
                <a:gd name="T4" fmla="*/ 1985 w 5052253"/>
                <a:gd name="T5" fmla="*/ 76 h 790272"/>
                <a:gd name="T6" fmla="*/ 1992 w 5052253"/>
                <a:gd name="T7" fmla="*/ 113 h 790272"/>
                <a:gd name="T8" fmla="*/ 837 w 5052253"/>
                <a:gd name="T9" fmla="*/ 412 h 790272"/>
                <a:gd name="T10" fmla="*/ 0 w 5052253"/>
                <a:gd name="T11" fmla="*/ 305 h 790272"/>
                <a:gd name="T12" fmla="*/ 27 w 5052253"/>
                <a:gd name="T13" fmla="*/ 28 h 79027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052253"/>
                <a:gd name="T22" fmla="*/ 0 h 790272"/>
                <a:gd name="T23" fmla="*/ 5052253 w 5052253"/>
                <a:gd name="T24" fmla="*/ 790272 h 79027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052253" h="790272">
                  <a:moveTo>
                    <a:pt x="69006" y="49657"/>
                  </a:moveTo>
                  <a:cubicBezTo>
                    <a:pt x="436370" y="160348"/>
                    <a:pt x="1305208" y="516942"/>
                    <a:pt x="2132775" y="531104"/>
                  </a:cubicBezTo>
                  <a:cubicBezTo>
                    <a:pt x="2960342" y="545266"/>
                    <a:pt x="4657229" y="0"/>
                    <a:pt x="5034407" y="134629"/>
                  </a:cubicBezTo>
                  <a:lnTo>
                    <a:pt x="5052253" y="200789"/>
                  </a:lnTo>
                  <a:cubicBezTo>
                    <a:pt x="4762337" y="49673"/>
                    <a:pt x="2965191" y="676196"/>
                    <a:pt x="2123149" y="733234"/>
                  </a:cubicBezTo>
                  <a:cubicBezTo>
                    <a:pt x="1281107" y="790272"/>
                    <a:pt x="359343" y="661727"/>
                    <a:pt x="0" y="543015"/>
                  </a:cubicBezTo>
                  <a:lnTo>
                    <a:pt x="69006" y="49657"/>
                  </a:lnTo>
                  <a:close/>
                </a:path>
              </a:pathLst>
            </a:custGeom>
            <a:gradFill rotWithShape="1">
              <a:gsLst>
                <a:gs pos="0">
                  <a:srgbClr val="7F10A2"/>
                </a:gs>
                <a:gs pos="100000">
                  <a:srgbClr val="FF8200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</p:spPr>
          <p:txBody>
            <a:bodyPr rot="10800000" lIns="90000" tIns="46800" rIns="90000" bIns="46800" anchor="ctr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76811" name="Group 1060"/>
          <p:cNvGrpSpPr>
            <a:grpSpLocks/>
          </p:cNvGrpSpPr>
          <p:nvPr/>
        </p:nvGrpSpPr>
        <p:grpSpPr bwMode="auto">
          <a:xfrm>
            <a:off x="4038600" y="1532215"/>
            <a:ext cx="3886200" cy="3696129"/>
            <a:chOff x="2736" y="949"/>
            <a:chExt cx="2448" cy="2200"/>
          </a:xfrm>
        </p:grpSpPr>
        <p:pic>
          <p:nvPicPr>
            <p:cNvPr id="76814" name="Picture 111" descr="liquidnet.png"/>
            <p:cNvPicPr>
              <a:picLocks noChangeAspect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736" y="949"/>
              <a:ext cx="2448" cy="22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6815" name="Rectangle 114"/>
            <p:cNvSpPr>
              <a:spLocks noChangeArrowheads="1"/>
            </p:cNvSpPr>
            <p:nvPr/>
          </p:nvSpPr>
          <p:spPr bwMode="auto">
            <a:xfrm>
              <a:off x="3168" y="1920"/>
              <a:ext cx="1344" cy="38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>
                  <a:solidFill>
                    <a:srgbClr val="FFFFFF"/>
                  </a:solidFill>
                  <a:ea typeface="Geneva" pitchFamily="84" charset="-128"/>
                </a:rPr>
                <a:t>Liquid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b="1">
                  <a:solidFill>
                    <a:srgbClr val="FFFFFF"/>
                  </a:solidFill>
                  <a:ea typeface="Geneva" pitchFamily="84" charset="-128"/>
                </a:rPr>
                <a:t>Net</a:t>
              </a:r>
            </a:p>
          </p:txBody>
        </p:sp>
      </p:grpSp>
      <p:sp>
        <p:nvSpPr>
          <p:cNvPr id="76812" name="AutoShape 42"/>
          <p:cNvSpPr>
            <a:spLocks noChangeArrowheads="1"/>
          </p:cNvSpPr>
          <p:nvPr/>
        </p:nvSpPr>
        <p:spPr bwMode="auto">
          <a:xfrm>
            <a:off x="7988300" y="2163916"/>
            <a:ext cx="3060700" cy="1303726"/>
          </a:xfrm>
          <a:prstGeom prst="roundRect">
            <a:avLst>
              <a:gd name="adj" fmla="val 13144"/>
            </a:avLst>
          </a:prstGeom>
          <a:gradFill rotWithShape="1">
            <a:gsLst>
              <a:gs pos="0">
                <a:srgbClr val="FFCC00"/>
              </a:gs>
              <a:gs pos="100000">
                <a:srgbClr val="FF8200"/>
              </a:gs>
            </a:gsLst>
            <a:lin ang="5400000" scaled="1"/>
          </a:gradFill>
          <a:ln w="28575">
            <a:solidFill>
              <a:srgbClr val="FF8200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000000"/>
                </a:solidFill>
                <a:ea typeface="Geneva" pitchFamily="84" charset="-128"/>
              </a:rPr>
              <a:t>Liquid content and traffic management for superior </a:t>
            </a:r>
            <a:r>
              <a:rPr lang="en-US" sz="1600" b="1" dirty="0" smtClean="0">
                <a:solidFill>
                  <a:srgbClr val="000000"/>
                </a:solidFill>
                <a:ea typeface="Geneva" pitchFamily="84" charset="-128"/>
              </a:rPr>
              <a:t>subscriber </a:t>
            </a:r>
            <a:r>
              <a:rPr lang="en-US" sz="1600" b="1" dirty="0">
                <a:solidFill>
                  <a:srgbClr val="000000"/>
                </a:solidFill>
                <a:ea typeface="Geneva" pitchFamily="84" charset="-128"/>
              </a:rPr>
              <a:t>experience and new revenues</a:t>
            </a:r>
          </a:p>
        </p:txBody>
      </p:sp>
      <p:sp>
        <p:nvSpPr>
          <p:cNvPr id="76813" name="AutoShape 42"/>
          <p:cNvSpPr>
            <a:spLocks noChangeArrowheads="1"/>
          </p:cNvSpPr>
          <p:nvPr/>
        </p:nvSpPr>
        <p:spPr bwMode="auto">
          <a:xfrm>
            <a:off x="7988300" y="3709571"/>
            <a:ext cx="3060700" cy="1290285"/>
          </a:xfrm>
          <a:prstGeom prst="roundRect">
            <a:avLst>
              <a:gd name="adj" fmla="val 11981"/>
            </a:avLst>
          </a:prstGeom>
          <a:gradFill rotWithShape="1">
            <a:gsLst>
              <a:gs pos="0">
                <a:srgbClr val="FFCC00"/>
              </a:gs>
              <a:gs pos="100000">
                <a:srgbClr val="FF8200"/>
              </a:gs>
            </a:gsLst>
            <a:lin ang="5400000" scaled="1"/>
          </a:gradFill>
          <a:ln w="28575">
            <a:solidFill>
              <a:srgbClr val="FF8200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000000"/>
                </a:solidFill>
                <a:ea typeface="Geneva" pitchFamily="84" charset="-128"/>
              </a:rPr>
              <a:t>Liquid resource </a:t>
            </a:r>
            <a:br>
              <a:rPr lang="en-GB" sz="1600" b="1" dirty="0">
                <a:solidFill>
                  <a:srgbClr val="000000"/>
                </a:solidFill>
                <a:ea typeface="Geneva" pitchFamily="84" charset="-128"/>
              </a:rPr>
            </a:br>
            <a:r>
              <a:rPr lang="en-GB" sz="1600" b="1" dirty="0">
                <a:solidFill>
                  <a:srgbClr val="000000"/>
                </a:solidFill>
                <a:ea typeface="Geneva" pitchFamily="84" charset="-128"/>
              </a:rPr>
              <a:t>allocation for flexibility and enhanced efficiency</a:t>
            </a:r>
          </a:p>
        </p:txBody>
      </p:sp>
    </p:spTree>
    <p:extLst>
      <p:ext uri="{BB962C8B-B14F-4D97-AF65-F5344CB8AC3E}">
        <p14:creationId xmlns:p14="http://schemas.microsoft.com/office/powerpoint/2010/main" val="3348128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16"/>
          <p:cNvSpPr>
            <a:spLocks noChangeAspect="1"/>
          </p:cNvSpPr>
          <p:nvPr/>
        </p:nvSpPr>
        <p:spPr bwMode="auto">
          <a:xfrm>
            <a:off x="457771" y="2142076"/>
            <a:ext cx="2638970" cy="1567494"/>
          </a:xfrm>
          <a:custGeom>
            <a:avLst/>
            <a:gdLst/>
            <a:ahLst/>
            <a:cxnLst>
              <a:cxn ang="0">
                <a:pos x="27" y="670"/>
              </a:cxn>
              <a:cxn ang="0">
                <a:pos x="6" y="611"/>
              </a:cxn>
              <a:cxn ang="0">
                <a:pos x="2" y="43"/>
              </a:cxn>
              <a:cxn ang="0">
                <a:pos x="23" y="2"/>
              </a:cxn>
              <a:cxn ang="0">
                <a:pos x="1220" y="0"/>
              </a:cxn>
              <a:cxn ang="0">
                <a:pos x="1287" y="46"/>
              </a:cxn>
              <a:cxn ang="0">
                <a:pos x="1454" y="263"/>
              </a:cxn>
              <a:cxn ang="0">
                <a:pos x="1460" y="393"/>
              </a:cxn>
              <a:cxn ang="0">
                <a:pos x="1281" y="632"/>
              </a:cxn>
              <a:cxn ang="0">
                <a:pos x="1223" y="665"/>
              </a:cxn>
              <a:cxn ang="0">
                <a:pos x="27" y="670"/>
              </a:cxn>
            </a:cxnLst>
            <a:rect l="0" t="0" r="r" b="b"/>
            <a:pathLst>
              <a:path w="1496" h="670">
                <a:moveTo>
                  <a:pt x="27" y="670"/>
                </a:moveTo>
                <a:cubicBezTo>
                  <a:pt x="4" y="652"/>
                  <a:pt x="7" y="650"/>
                  <a:pt x="6" y="611"/>
                </a:cubicBezTo>
                <a:lnTo>
                  <a:pt x="2" y="43"/>
                </a:lnTo>
                <a:cubicBezTo>
                  <a:pt x="0" y="10"/>
                  <a:pt x="4" y="10"/>
                  <a:pt x="23" y="2"/>
                </a:cubicBezTo>
                <a:lnTo>
                  <a:pt x="1220" y="0"/>
                </a:lnTo>
                <a:cubicBezTo>
                  <a:pt x="1249" y="2"/>
                  <a:pt x="1272" y="29"/>
                  <a:pt x="1287" y="46"/>
                </a:cubicBezTo>
                <a:lnTo>
                  <a:pt x="1454" y="263"/>
                </a:lnTo>
                <a:cubicBezTo>
                  <a:pt x="1495" y="303"/>
                  <a:pt x="1496" y="358"/>
                  <a:pt x="1460" y="393"/>
                </a:cubicBezTo>
                <a:lnTo>
                  <a:pt x="1281" y="632"/>
                </a:lnTo>
                <a:cubicBezTo>
                  <a:pt x="1262" y="655"/>
                  <a:pt x="1247" y="663"/>
                  <a:pt x="1223" y="665"/>
                </a:cubicBezTo>
                <a:lnTo>
                  <a:pt x="27" y="670"/>
                </a:lnTo>
                <a:close/>
              </a:path>
            </a:pathLst>
          </a:custGeom>
          <a:gradFill rotWithShape="1">
            <a:gsLst>
              <a:gs pos="0">
                <a:srgbClr val="FFCC00"/>
              </a:gs>
              <a:gs pos="100000">
                <a:srgbClr val="FF8200"/>
              </a:gs>
            </a:gsLst>
            <a:lin ang="5400000" scaled="1"/>
          </a:gradFill>
          <a:ln w="28575">
            <a:solidFill>
              <a:srgbClr val="FF8200"/>
            </a:solidFill>
            <a:miter lim="800000"/>
            <a:headEnd/>
            <a:tailEnd/>
          </a:ln>
        </p:spPr>
        <p:txBody>
          <a:bodyPr lIns="144000" tIns="108000" rIns="91439" bIns="108000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srgbClr val="000000"/>
                </a:solidFill>
              </a:rPr>
              <a:t>Radio domain &amp;</a:t>
            </a:r>
            <a:br>
              <a:rPr lang="en-GB" sz="1600" b="1" dirty="0" smtClean="0">
                <a:solidFill>
                  <a:srgbClr val="000000"/>
                </a:solidFill>
              </a:rPr>
            </a:br>
            <a:r>
              <a:rPr lang="en-GB" sz="1600" b="1" dirty="0" smtClean="0">
                <a:solidFill>
                  <a:srgbClr val="000000"/>
                </a:solidFill>
              </a:rPr>
              <a:t>Core domain are main concern in terms of </a:t>
            </a:r>
            <a:r>
              <a:rPr lang="en-GB" b="1" u="sng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nctional</a:t>
            </a:r>
            <a:r>
              <a:rPr lang="en-GB" b="1" dirty="0" smtClean="0">
                <a:solidFill>
                  <a:srgbClr val="000000"/>
                </a:solidFill>
              </a:rPr>
              <a:t> </a:t>
            </a:r>
            <a:r>
              <a:rPr lang="en-GB" sz="1600" b="1" dirty="0" smtClean="0">
                <a:solidFill>
                  <a:srgbClr val="000000"/>
                </a:solidFill>
              </a:rPr>
              <a:t/>
            </a:r>
            <a:br>
              <a:rPr lang="en-GB" sz="1600" b="1" dirty="0" smtClean="0">
                <a:solidFill>
                  <a:srgbClr val="000000"/>
                </a:solidFill>
              </a:rPr>
            </a:br>
            <a:r>
              <a:rPr lang="en-GB" sz="1600" b="1" dirty="0" smtClean="0">
                <a:solidFill>
                  <a:srgbClr val="000000"/>
                </a:solidFill>
              </a:rPr>
              <a:t>Requirements</a:t>
            </a:r>
            <a:endParaRPr lang="en-GB" sz="1600" b="1" dirty="0">
              <a:solidFill>
                <a:srgbClr val="000000"/>
              </a:solidFill>
            </a:endParaRPr>
          </a:p>
        </p:txBody>
      </p:sp>
      <p:sp>
        <p:nvSpPr>
          <p:cNvPr id="78851" name="Title 5"/>
          <p:cNvSpPr>
            <a:spLocks/>
          </p:cNvSpPr>
          <p:nvPr/>
        </p:nvSpPr>
        <p:spPr bwMode="auto">
          <a:xfrm>
            <a:off x="320675" y="225129"/>
            <a:ext cx="10879138" cy="826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666666"/>
                </a:solidFill>
              </a:rPr>
              <a:t>Liquid </a:t>
            </a:r>
            <a:r>
              <a:rPr lang="en-US" sz="2800" b="1" dirty="0" smtClean="0">
                <a:solidFill>
                  <a:srgbClr val="666666"/>
                </a:solidFill>
              </a:rPr>
              <a:t>Net functional requirement in main three domains</a:t>
            </a:r>
            <a:endParaRPr lang="en-US" sz="2800" b="1" dirty="0">
              <a:solidFill>
                <a:srgbClr val="666666"/>
              </a:solidFill>
            </a:endParaRPr>
          </a:p>
        </p:txBody>
      </p:sp>
      <p:sp>
        <p:nvSpPr>
          <p:cNvPr id="78852" name="AutoShape 42"/>
          <p:cNvSpPr>
            <a:spLocks noChangeArrowheads="1"/>
          </p:cNvSpPr>
          <p:nvPr/>
        </p:nvSpPr>
        <p:spPr bwMode="auto">
          <a:xfrm>
            <a:off x="3895728" y="1105479"/>
            <a:ext cx="7096125" cy="4862090"/>
          </a:xfrm>
          <a:prstGeom prst="roundRect">
            <a:avLst>
              <a:gd name="adj" fmla="val 4181"/>
            </a:avLst>
          </a:prstGeom>
          <a:gradFill rotWithShape="1">
            <a:gsLst>
              <a:gs pos="0">
                <a:srgbClr val="B270C7"/>
              </a:gs>
              <a:gs pos="100000">
                <a:srgbClr val="7F10A2"/>
              </a:gs>
            </a:gsLst>
            <a:lin ang="5400000" scaled="1"/>
          </a:gradFill>
          <a:ln w="28575">
            <a:solidFill>
              <a:srgbClr val="7F10A2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FF8200"/>
              </a:buClr>
              <a:buSzPct val="110000"/>
            </a:pPr>
            <a:r>
              <a:rPr lang="en-US" sz="160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78853" name="Rectangle 114"/>
          <p:cNvSpPr>
            <a:spLocks noChangeArrowheads="1"/>
          </p:cNvSpPr>
          <p:nvPr/>
        </p:nvSpPr>
        <p:spPr bwMode="auto">
          <a:xfrm>
            <a:off x="5288485" y="1179401"/>
            <a:ext cx="414496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800" b="1" dirty="0">
                <a:solidFill>
                  <a:srgbClr val="FFFFFF"/>
                </a:solidFill>
              </a:rPr>
              <a:t>Liquid Net</a:t>
            </a:r>
          </a:p>
        </p:txBody>
      </p:sp>
      <p:sp>
        <p:nvSpPr>
          <p:cNvPr id="78854" name="AutoShape 16"/>
          <p:cNvSpPr>
            <a:spLocks noChangeArrowheads="1"/>
          </p:cNvSpPr>
          <p:nvPr/>
        </p:nvSpPr>
        <p:spPr bwMode="auto">
          <a:xfrm rot="5400000" flipH="1">
            <a:off x="7552496" y="2509325"/>
            <a:ext cx="4035501" cy="2598738"/>
          </a:xfrm>
          <a:prstGeom prst="wave">
            <a:avLst>
              <a:gd name="adj1" fmla="val 11134"/>
              <a:gd name="adj2" fmla="val 0"/>
            </a:avLst>
          </a:prstGeom>
          <a:solidFill>
            <a:schemeClr val="bg1"/>
          </a:solidFill>
          <a:ln w="28575">
            <a:solidFill>
              <a:srgbClr val="7030A0"/>
            </a:solidFill>
            <a:round/>
            <a:headEnd/>
            <a:tailEnd/>
          </a:ln>
        </p:spPr>
        <p:txBody>
          <a:bodyPr lIns="162000" tIns="118800" rIns="162000" anchor="b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666666"/>
              </a:solidFill>
            </a:endParaRPr>
          </a:p>
        </p:txBody>
      </p:sp>
      <p:sp>
        <p:nvSpPr>
          <p:cNvPr id="78855" name="AutoShape 16"/>
          <p:cNvSpPr>
            <a:spLocks noChangeArrowheads="1"/>
          </p:cNvSpPr>
          <p:nvPr/>
        </p:nvSpPr>
        <p:spPr bwMode="auto">
          <a:xfrm rot="5400000" flipH="1">
            <a:off x="5390321" y="2509325"/>
            <a:ext cx="4035501" cy="2598738"/>
          </a:xfrm>
          <a:prstGeom prst="wave">
            <a:avLst>
              <a:gd name="adj1" fmla="val 11134"/>
              <a:gd name="adj2" fmla="val 0"/>
            </a:avLst>
          </a:prstGeom>
          <a:solidFill>
            <a:schemeClr val="bg1"/>
          </a:solidFill>
          <a:ln w="28575">
            <a:solidFill>
              <a:srgbClr val="7030A0"/>
            </a:solidFill>
            <a:round/>
            <a:headEnd/>
            <a:tailEnd/>
          </a:ln>
        </p:spPr>
        <p:txBody>
          <a:bodyPr lIns="162000" tIns="118800" rIns="162000" anchor="b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666666"/>
              </a:solidFill>
            </a:endParaRPr>
          </a:p>
        </p:txBody>
      </p:sp>
      <p:sp>
        <p:nvSpPr>
          <p:cNvPr id="78856" name="Rectangle 49"/>
          <p:cNvSpPr>
            <a:spLocks noChangeArrowheads="1"/>
          </p:cNvSpPr>
          <p:nvPr/>
        </p:nvSpPr>
        <p:spPr bwMode="auto">
          <a:xfrm>
            <a:off x="6770688" y="3301318"/>
            <a:ext cx="1352550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</a:rPr>
              <a:t>Liquid Cor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Core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Virtualizati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One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Comm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Hardware 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78857" name="Rectangle 49"/>
          <p:cNvSpPr>
            <a:spLocks noChangeArrowheads="1"/>
          </p:cNvSpPr>
          <p:nvPr/>
        </p:nvSpPr>
        <p:spPr bwMode="auto">
          <a:xfrm>
            <a:off x="8905878" y="3301316"/>
            <a:ext cx="1674813" cy="2074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</a:rPr>
              <a:t>Liquid Transpor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7030A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Flexible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Optic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Multi Layer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Optimization</a:t>
            </a:r>
            <a:endParaRPr lang="en-US" sz="12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Intelligent </a:t>
            </a:r>
            <a:br>
              <a:rPr lang="en-US" sz="1200" dirty="0">
                <a:solidFill>
                  <a:srgbClr val="000000"/>
                </a:solidFill>
              </a:rPr>
            </a:br>
            <a:r>
              <a:rPr lang="en-US" sz="1200" dirty="0">
                <a:solidFill>
                  <a:srgbClr val="000000"/>
                </a:solidFill>
              </a:rPr>
              <a:t>Control</a:t>
            </a:r>
          </a:p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666666"/>
              </a:solidFill>
            </a:endParaRPr>
          </a:p>
        </p:txBody>
      </p:sp>
      <p:sp>
        <p:nvSpPr>
          <p:cNvPr id="78858" name="AutoShape 16"/>
          <p:cNvSpPr>
            <a:spLocks noChangeArrowheads="1"/>
          </p:cNvSpPr>
          <p:nvPr/>
        </p:nvSpPr>
        <p:spPr bwMode="auto">
          <a:xfrm rot="5400000" flipH="1">
            <a:off x="3244021" y="2509325"/>
            <a:ext cx="4035501" cy="2598738"/>
          </a:xfrm>
          <a:prstGeom prst="wave">
            <a:avLst>
              <a:gd name="adj1" fmla="val 11134"/>
              <a:gd name="adj2" fmla="val 0"/>
            </a:avLst>
          </a:prstGeom>
          <a:solidFill>
            <a:schemeClr val="bg1"/>
          </a:solidFill>
          <a:ln w="28575">
            <a:solidFill>
              <a:srgbClr val="7030A0"/>
            </a:solidFill>
            <a:round/>
            <a:headEnd/>
            <a:tailEnd/>
          </a:ln>
        </p:spPr>
        <p:txBody>
          <a:bodyPr lIns="162000" tIns="118800" rIns="162000" anchor="b">
            <a:prstTxWarp prst="textNoShape">
              <a:avLst/>
            </a:prstTxWarp>
          </a:bodyPr>
          <a:lstStyle/>
          <a:p>
            <a:pPr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666666"/>
              </a:solidFill>
            </a:endParaRPr>
          </a:p>
        </p:txBody>
      </p:sp>
      <p:sp>
        <p:nvSpPr>
          <p:cNvPr id="78859" name="Rectangle 49"/>
          <p:cNvSpPr>
            <a:spLocks noChangeArrowheads="1"/>
          </p:cNvSpPr>
          <p:nvPr/>
        </p:nvSpPr>
        <p:spPr bwMode="auto">
          <a:xfrm>
            <a:off x="4629153" y="3296277"/>
            <a:ext cx="1363663" cy="22775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>
                <a:solidFill>
                  <a:srgbClr val="000000"/>
                </a:solidFill>
              </a:rPr>
              <a:t>Liquid Radio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Baseband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</a:rPr>
              <a:t>Pooling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 smtClean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Active Antenna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System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dirty="0">
              <a:solidFill>
                <a:srgbClr val="000000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Unified </a:t>
            </a:r>
            <a:br>
              <a:rPr lang="en-US" sz="1200" dirty="0" smtClean="0">
                <a:solidFill>
                  <a:srgbClr val="000000"/>
                </a:solidFill>
              </a:rPr>
            </a:br>
            <a:r>
              <a:rPr lang="en-US" sz="1200" dirty="0" smtClean="0">
                <a:solidFill>
                  <a:srgbClr val="000000"/>
                </a:solidFill>
              </a:rPr>
              <a:t>Heterogeneou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000000"/>
                </a:solidFill>
              </a:rPr>
              <a:t>Networks</a:t>
            </a:r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4" name="Wave 3"/>
          <p:cNvSpPr>
            <a:spLocks noChangeArrowheads="1"/>
          </p:cNvSpPr>
          <p:nvPr/>
        </p:nvSpPr>
        <p:spPr bwMode="auto">
          <a:xfrm>
            <a:off x="4319878" y="2022800"/>
            <a:ext cx="5855205" cy="884345"/>
          </a:xfrm>
          <a:prstGeom prst="wave">
            <a:avLst>
              <a:gd name="adj1" fmla="val 12111"/>
              <a:gd name="adj2" fmla="val 0"/>
            </a:avLst>
          </a:prstGeom>
          <a:gradFill rotWithShape="0">
            <a:gsLst>
              <a:gs pos="0">
                <a:srgbClr val="B270C7"/>
              </a:gs>
              <a:gs pos="100000">
                <a:srgbClr val="7F10A2"/>
              </a:gs>
            </a:gsLst>
            <a:lin ang="5400000" scaled="1"/>
          </a:gradFill>
          <a:ln w="28575">
            <a:solidFill>
              <a:srgbClr val="7F10A2"/>
            </a:solidFill>
            <a:round/>
            <a:headEnd/>
            <a:tailEnd/>
          </a:ln>
        </p:spPr>
        <p:txBody>
          <a:bodyPr wrap="square" lIns="90000" tIns="46800" rIns="90000" bIns="46800" anchor="ctr">
            <a:prstTxWarp prst="textNoShape">
              <a:avLst/>
            </a:prstTxWarp>
            <a:spAutoFit/>
          </a:bodyPr>
          <a:lstStyle/>
          <a:p>
            <a:pPr defTabSz="76200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FFCC00"/>
              </a:buClr>
              <a:defRPr/>
            </a:pPr>
            <a:endParaRPr lang="en-GB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78861" name="Text Box 66"/>
          <p:cNvSpPr txBox="1">
            <a:spLocks noChangeArrowheads="1"/>
          </p:cNvSpPr>
          <p:nvPr/>
        </p:nvSpPr>
        <p:spPr bwMode="auto">
          <a:xfrm>
            <a:off x="4963417" y="2157197"/>
            <a:ext cx="511810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50000"/>
              </a:spcBef>
              <a:spcAft>
                <a:spcPct val="0"/>
              </a:spcAft>
            </a:pPr>
            <a:r>
              <a:rPr lang="en-US" sz="2000" b="1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Intelligent Broadband </a:t>
            </a:r>
            <a:r>
              <a:rPr lang="en-US" sz="2000" b="1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Management</a:t>
            </a:r>
            <a:r>
              <a:rPr lang="en-US" sz="1400" dirty="0" smtClean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Integrated </a:t>
            </a:r>
            <a:r>
              <a:rPr lang="en-US" sz="1400" dirty="0" err="1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QoS</a:t>
            </a:r>
            <a:r>
              <a:rPr lang="en-US" sz="1400" dirty="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 and Content Delivery Network</a:t>
            </a:r>
          </a:p>
        </p:txBody>
      </p:sp>
      <p:pic>
        <p:nvPicPr>
          <p:cNvPr id="78862" name="Picture 17" descr="D:\_jobs\Campaign\Liquid_Net\inputs\emte_sistemas_images\Final Liquid Icons\Final Liquid Icons\6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22938" y="3758292"/>
            <a:ext cx="444500" cy="470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3" name="Picture 14" descr="D:\_jobs\Campaign\Liquid_Net\inputs\emte_sistemas_images\Final Liquid Icons\Final Liquid Icons\7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722938" y="4419683"/>
            <a:ext cx="444500" cy="470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4" name="Picture 19" descr="D:\_jobs\Campaign\Liquid_Net\inputs\emte_sistemas_images\Final Liquid Icons\Final Liquid Icons\4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578828" y="2137544"/>
            <a:ext cx="561975" cy="5947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5" name="Picture 16" descr="D:\_jobs\Campaign\Liquid_Net\inputs\emte_sistemas_images\Final Liquid Icons\Final Liquid Icons\8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722938" y="5092259"/>
            <a:ext cx="444500" cy="468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6" name="Picture 18" descr="D:\_jobs\Campaign\Liquid_Net\inputs\emte_sistemas_images\Final Liquid Icons\Final Liquid Icons\5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793038" y="3808694"/>
            <a:ext cx="442912" cy="470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7" name="Picture 36" descr="SON_for_Core_03022012_v01.png"/>
          <p:cNvPicPr>
            <a:picLocks noChangeAspect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793041" y="4371515"/>
            <a:ext cx="415925" cy="44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8" name="Picture 20" descr="D:\_jobs\Campaign\Liquid_Net\inputs\emte_sistemas_images\Final Liquid Icons\Final Liquid Icons\3.pn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9953628" y="4870491"/>
            <a:ext cx="442913" cy="470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69" name="Picture 21" descr="D:\_jobs\Campaign\Liquid_Net\inputs\emte_sistemas_images\Final Liquid Icons\Final Liquid Icons\2.pn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9963153" y="3783494"/>
            <a:ext cx="442913" cy="4687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8870" name="Picture 17" descr="IP_Transport_integration_03022012_v01.png"/>
          <p:cNvPicPr>
            <a:picLocks noChangeAspect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9977441" y="4322794"/>
            <a:ext cx="414337" cy="440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1" name="Freeform 16"/>
          <p:cNvSpPr>
            <a:spLocks noChangeAspect="1"/>
          </p:cNvSpPr>
          <p:nvPr/>
        </p:nvSpPr>
        <p:spPr bwMode="auto">
          <a:xfrm>
            <a:off x="457771" y="3993502"/>
            <a:ext cx="2638970" cy="1567494"/>
          </a:xfrm>
          <a:custGeom>
            <a:avLst/>
            <a:gdLst/>
            <a:ahLst/>
            <a:cxnLst>
              <a:cxn ang="0">
                <a:pos x="27" y="670"/>
              </a:cxn>
              <a:cxn ang="0">
                <a:pos x="6" y="611"/>
              </a:cxn>
              <a:cxn ang="0">
                <a:pos x="2" y="43"/>
              </a:cxn>
              <a:cxn ang="0">
                <a:pos x="23" y="2"/>
              </a:cxn>
              <a:cxn ang="0">
                <a:pos x="1220" y="0"/>
              </a:cxn>
              <a:cxn ang="0">
                <a:pos x="1287" y="46"/>
              </a:cxn>
              <a:cxn ang="0">
                <a:pos x="1454" y="263"/>
              </a:cxn>
              <a:cxn ang="0">
                <a:pos x="1460" y="393"/>
              </a:cxn>
              <a:cxn ang="0">
                <a:pos x="1281" y="632"/>
              </a:cxn>
              <a:cxn ang="0">
                <a:pos x="1223" y="665"/>
              </a:cxn>
              <a:cxn ang="0">
                <a:pos x="27" y="670"/>
              </a:cxn>
            </a:cxnLst>
            <a:rect l="0" t="0" r="r" b="b"/>
            <a:pathLst>
              <a:path w="1496" h="670">
                <a:moveTo>
                  <a:pt x="27" y="670"/>
                </a:moveTo>
                <a:cubicBezTo>
                  <a:pt x="4" y="652"/>
                  <a:pt x="7" y="650"/>
                  <a:pt x="6" y="611"/>
                </a:cubicBezTo>
                <a:lnTo>
                  <a:pt x="2" y="43"/>
                </a:lnTo>
                <a:cubicBezTo>
                  <a:pt x="0" y="10"/>
                  <a:pt x="4" y="10"/>
                  <a:pt x="23" y="2"/>
                </a:cubicBezTo>
                <a:lnTo>
                  <a:pt x="1220" y="0"/>
                </a:lnTo>
                <a:cubicBezTo>
                  <a:pt x="1249" y="2"/>
                  <a:pt x="1272" y="29"/>
                  <a:pt x="1287" y="46"/>
                </a:cubicBezTo>
                <a:lnTo>
                  <a:pt x="1454" y="263"/>
                </a:lnTo>
                <a:cubicBezTo>
                  <a:pt x="1495" y="303"/>
                  <a:pt x="1496" y="358"/>
                  <a:pt x="1460" y="393"/>
                </a:cubicBezTo>
                <a:lnTo>
                  <a:pt x="1281" y="632"/>
                </a:lnTo>
                <a:cubicBezTo>
                  <a:pt x="1262" y="655"/>
                  <a:pt x="1247" y="663"/>
                  <a:pt x="1223" y="665"/>
                </a:cubicBezTo>
                <a:lnTo>
                  <a:pt x="27" y="670"/>
                </a:lnTo>
                <a:close/>
              </a:path>
            </a:pathLst>
          </a:custGeom>
          <a:gradFill rotWithShape="1">
            <a:gsLst>
              <a:gs pos="0">
                <a:srgbClr val="FFCC00"/>
              </a:gs>
              <a:gs pos="100000">
                <a:srgbClr val="FF8200"/>
              </a:gs>
            </a:gsLst>
            <a:lin ang="5400000" scaled="1"/>
          </a:gradFill>
          <a:ln w="28575">
            <a:solidFill>
              <a:srgbClr val="FF8200"/>
            </a:solidFill>
            <a:miter lim="800000"/>
            <a:headEnd/>
            <a:tailEnd/>
          </a:ln>
        </p:spPr>
        <p:txBody>
          <a:bodyPr lIns="144000" tIns="108000" rIns="91439" bIns="108000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srgbClr val="000000"/>
                </a:solidFill>
              </a:rPr>
              <a:t>Transport domain </a:t>
            </a:r>
            <a:br>
              <a:rPr lang="en-GB" sz="1600" b="1" dirty="0" smtClean="0">
                <a:solidFill>
                  <a:srgbClr val="000000"/>
                </a:solidFill>
              </a:rPr>
            </a:br>
            <a:r>
              <a:rPr lang="en-GB" sz="1600" b="1" dirty="0" smtClean="0">
                <a:solidFill>
                  <a:srgbClr val="000000"/>
                </a:solidFill>
              </a:rPr>
              <a:t>mostly act as a</a:t>
            </a:r>
            <a:br>
              <a:rPr lang="en-GB" sz="1600" b="1" dirty="0" smtClean="0">
                <a:solidFill>
                  <a:srgbClr val="000000"/>
                </a:solidFill>
              </a:rPr>
            </a:br>
            <a:r>
              <a:rPr lang="en-GB" b="1" u="sng" dirty="0" smtClean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n-functional</a:t>
            </a:r>
            <a:r>
              <a:rPr lang="en-GB" b="1" dirty="0" smtClean="0">
                <a:solidFill>
                  <a:srgbClr val="000000"/>
                </a:solidFill>
              </a:rPr>
              <a:t> </a:t>
            </a:r>
            <a:r>
              <a:rPr lang="en-GB" sz="1600" b="1" dirty="0" smtClean="0">
                <a:solidFill>
                  <a:srgbClr val="000000"/>
                </a:solidFill>
              </a:rPr>
              <a:t/>
            </a:r>
            <a:br>
              <a:rPr lang="en-GB" sz="1600" b="1" dirty="0" smtClean="0">
                <a:solidFill>
                  <a:srgbClr val="000000"/>
                </a:solidFill>
              </a:rPr>
            </a:br>
            <a:r>
              <a:rPr lang="en-GB" sz="1600" b="1" dirty="0" smtClean="0">
                <a:solidFill>
                  <a:srgbClr val="000000"/>
                </a:solidFill>
              </a:rPr>
              <a:t>Requirement </a:t>
            </a:r>
            <a:endParaRPr lang="en-GB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03122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23" name="Title 5"/>
          <p:cNvSpPr>
            <a:spLocks noGrp="1"/>
          </p:cNvSpPr>
          <p:nvPr>
            <p:ph type="title"/>
          </p:nvPr>
        </p:nvSpPr>
        <p:spPr>
          <a:xfrm>
            <a:off x="594180" y="63283"/>
            <a:ext cx="10369550" cy="1143000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dirty="0" smtClean="0">
                <a:ea typeface="MS PGothic" pitchFamily="34" charset="-128"/>
              </a:rPr>
              <a:t>Unpredictable use, but dependent on time and place</a:t>
            </a:r>
          </a:p>
        </p:txBody>
      </p:sp>
      <p:grpSp>
        <p:nvGrpSpPr>
          <p:cNvPr id="2" name="Group 28"/>
          <p:cNvGrpSpPr/>
          <p:nvPr/>
        </p:nvGrpSpPr>
        <p:grpSpPr>
          <a:xfrm>
            <a:off x="334963" y="1206283"/>
            <a:ext cx="6846887" cy="3235793"/>
            <a:chOff x="334963" y="1139825"/>
            <a:chExt cx="6846887" cy="3057525"/>
          </a:xfrm>
        </p:grpSpPr>
        <p:sp>
          <p:nvSpPr>
            <p:cNvPr id="20" name="AutoShape 11"/>
            <p:cNvSpPr>
              <a:spLocks noChangeArrowheads="1"/>
            </p:cNvSpPr>
            <p:nvPr/>
          </p:nvSpPr>
          <p:spPr bwMode="auto">
            <a:xfrm>
              <a:off x="334963" y="1139825"/>
              <a:ext cx="6846887" cy="3057525"/>
            </a:xfrm>
            <a:prstGeom prst="roundRect">
              <a:avLst>
                <a:gd name="adj" fmla="val 5368"/>
              </a:avLst>
            </a:prstGeom>
            <a:gradFill>
              <a:gsLst>
                <a:gs pos="0">
                  <a:srgbClr val="F8F8F8"/>
                </a:gs>
                <a:gs pos="100000">
                  <a:srgbClr val="DADBDE"/>
                </a:gs>
              </a:gsLst>
              <a:lin ang="5400000" scaled="1"/>
            </a:gradFill>
            <a:ln>
              <a:noFill/>
              <a:headEnd/>
              <a:tailEnd/>
            </a:ln>
            <a:effectLst>
              <a:outerShdw blurRad="127000" dist="63500" dir="2700000" rotWithShape="0">
                <a:srgbClr val="000000">
                  <a:alpha val="52000"/>
                </a:srgbClr>
              </a:outerShdw>
            </a:effectLst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lIns="90000" tIns="46800"/>
            <a:lstStyle/>
            <a:p>
              <a:pPr defTabSz="762000">
                <a:lnSpc>
                  <a:spcPct val="90000"/>
                </a:lnSpc>
                <a:spcBef>
                  <a:spcPct val="50000"/>
                </a:spcBef>
                <a:buClr>
                  <a:schemeClr val="accent2"/>
                </a:buClr>
                <a:defRPr/>
              </a:pPr>
              <a:endParaRPr lang="en-US" sz="1600" b="1" dirty="0">
                <a:solidFill>
                  <a:schemeClr val="tx2">
                    <a:lumMod val="50000"/>
                  </a:schemeClr>
                </a:solidFill>
                <a:latin typeface="+mn-lt"/>
                <a:ea typeface="MS PGothic" pitchFamily="34" charset="-128"/>
                <a:cs typeface="Arial" pitchFamily="34" charset="0"/>
              </a:endParaRPr>
            </a:p>
          </p:txBody>
        </p:sp>
        <p:pic>
          <p:nvPicPr>
            <p:cNvPr id="41" name="Picture 3"/>
            <p:cNvPicPr/>
            <p:nvPr>
              <p:custDataLst>
                <p:tags r:id="rId1"/>
              </p:custDataLst>
            </p:nvPr>
          </p:nvPicPr>
          <p:blipFill>
            <a:blip r:embed="rId4" cstate="print">
              <a:lum bright="5000"/>
            </a:blip>
            <a:stretch>
              <a:fillRect/>
            </a:stretch>
          </p:blipFill>
          <p:spPr bwMode="auto">
            <a:xfrm>
              <a:off x="496889" y="1246335"/>
              <a:ext cx="6532561" cy="2808139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3" name="Picture 2" descr="C:\Documents and Settings\quinine\Desktop\cars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67650" y="1206282"/>
            <a:ext cx="3340100" cy="2356562"/>
          </a:xfrm>
          <a:prstGeom prst="roundRect">
            <a:avLst>
              <a:gd name="adj" fmla="val 7256"/>
            </a:avLst>
          </a:prstGeom>
          <a:noFill/>
        </p:spPr>
      </p:pic>
      <p:pic>
        <p:nvPicPr>
          <p:cNvPr id="24" name="Picture 3" descr="C:\Documents and Settings\quinine\Desktop\car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867650" y="3752132"/>
            <a:ext cx="3340100" cy="2356562"/>
          </a:xfrm>
          <a:prstGeom prst="roundRect">
            <a:avLst>
              <a:gd name="adj" fmla="val 8539"/>
            </a:avLst>
          </a:prstGeom>
          <a:noFill/>
        </p:spPr>
      </p:pic>
      <p:grpSp>
        <p:nvGrpSpPr>
          <p:cNvPr id="64" name="Gruppieren 63"/>
          <p:cNvGrpSpPr/>
          <p:nvPr/>
        </p:nvGrpSpPr>
        <p:grpSpPr>
          <a:xfrm>
            <a:off x="692036" y="4800716"/>
            <a:ext cx="5910626" cy="1291916"/>
            <a:chOff x="1371600" y="4102100"/>
            <a:chExt cx="8670491" cy="1798528"/>
          </a:xfrm>
        </p:grpSpPr>
        <p:sp>
          <p:nvSpPr>
            <p:cNvPr id="22" name="Rounded Rectangle 59"/>
            <p:cNvSpPr>
              <a:spLocks noChangeArrowheads="1"/>
            </p:cNvSpPr>
            <p:nvPr/>
          </p:nvSpPr>
          <p:spPr bwMode="auto">
            <a:xfrm>
              <a:off x="3619539" y="4413250"/>
              <a:ext cx="1079500" cy="839788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defTabSz="762000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25" name="Rounded Rectangle 59"/>
            <p:cNvSpPr>
              <a:spLocks noChangeArrowheads="1"/>
            </p:cNvSpPr>
            <p:nvPr/>
          </p:nvSpPr>
          <p:spPr bwMode="auto">
            <a:xfrm>
              <a:off x="6750050" y="4403725"/>
              <a:ext cx="1079500" cy="587375"/>
            </a:xfrm>
            <a:prstGeom prst="roundRect">
              <a:avLst>
                <a:gd name="adj" fmla="val 0"/>
              </a:avLst>
            </a:prstGeom>
            <a:solidFill>
              <a:schemeClr val="bg1">
                <a:lumMod val="65000"/>
              </a:schemeClr>
            </a:solidFill>
            <a:ln w="9525">
              <a:noFill/>
              <a:round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defTabSz="762000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26" name="Oval 17"/>
            <p:cNvSpPr>
              <a:spLocks noChangeArrowheads="1"/>
            </p:cNvSpPr>
            <p:nvPr/>
          </p:nvSpPr>
          <p:spPr bwMode="auto">
            <a:xfrm>
              <a:off x="1708150" y="5113338"/>
              <a:ext cx="65088" cy="6350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7" name="Rectangle 18"/>
            <p:cNvSpPr>
              <a:spLocks noChangeArrowheads="1"/>
            </p:cNvSpPr>
            <p:nvPr/>
          </p:nvSpPr>
          <p:spPr bwMode="auto">
            <a:xfrm>
              <a:off x="1423989" y="5591175"/>
              <a:ext cx="712787" cy="29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r>
                <a:rPr lang="en-GB" sz="1400">
                  <a:solidFill>
                    <a:srgbClr val="58595B"/>
                  </a:solidFill>
                </a:rPr>
                <a:t>Users</a:t>
              </a:r>
              <a:endParaRPr lang="en-GB" sz="1800"/>
            </a:p>
          </p:txBody>
        </p:sp>
        <p:sp>
          <p:nvSpPr>
            <p:cNvPr id="28" name="Rectangle 19"/>
            <p:cNvSpPr>
              <a:spLocks noChangeArrowheads="1"/>
            </p:cNvSpPr>
            <p:nvPr/>
          </p:nvSpPr>
          <p:spPr bwMode="auto">
            <a:xfrm>
              <a:off x="9182100" y="5507038"/>
              <a:ext cx="859991" cy="29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r>
                <a:rPr lang="en-GB" sz="1400">
                  <a:solidFill>
                    <a:srgbClr val="58595B"/>
                  </a:solidFill>
                </a:rPr>
                <a:t>Content</a:t>
              </a:r>
              <a:endParaRPr lang="en-GB" sz="1800"/>
            </a:p>
          </p:txBody>
        </p:sp>
        <p:sp>
          <p:nvSpPr>
            <p:cNvPr id="29" name="Rectangle 20"/>
            <p:cNvSpPr>
              <a:spLocks noChangeArrowheads="1"/>
            </p:cNvSpPr>
            <p:nvPr/>
          </p:nvSpPr>
          <p:spPr bwMode="auto">
            <a:xfrm>
              <a:off x="6750050" y="5600700"/>
              <a:ext cx="749300" cy="29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r>
                <a:rPr lang="en-GB" sz="1400">
                  <a:solidFill>
                    <a:srgbClr val="58595B"/>
                  </a:solidFill>
                </a:rPr>
                <a:t>Core</a:t>
              </a:r>
              <a:endParaRPr lang="en-GB" sz="1800"/>
            </a:p>
          </p:txBody>
        </p:sp>
        <p:sp>
          <p:nvSpPr>
            <p:cNvPr id="30" name="Rectangle 21"/>
            <p:cNvSpPr>
              <a:spLocks noChangeArrowheads="1"/>
            </p:cNvSpPr>
            <p:nvPr/>
          </p:nvSpPr>
          <p:spPr bwMode="auto">
            <a:xfrm>
              <a:off x="3598863" y="5597524"/>
              <a:ext cx="736600" cy="29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prstTxWarp prst="textNoShape">
                <a:avLst/>
              </a:prstTxWarp>
              <a:spAutoFit/>
            </a:bodyPr>
            <a:lstStyle/>
            <a:p>
              <a:r>
                <a:rPr lang="en-GB" sz="1400">
                  <a:solidFill>
                    <a:srgbClr val="58595B"/>
                  </a:solidFill>
                </a:rPr>
                <a:t>Radio</a:t>
              </a:r>
              <a:endParaRPr lang="en-GB" sz="1800"/>
            </a:p>
          </p:txBody>
        </p:sp>
        <p:sp>
          <p:nvSpPr>
            <p:cNvPr id="31" name="Rectangle 22"/>
            <p:cNvSpPr>
              <a:spLocks noChangeArrowheads="1"/>
            </p:cNvSpPr>
            <p:nvPr/>
          </p:nvSpPr>
          <p:spPr bwMode="auto">
            <a:xfrm>
              <a:off x="3198813" y="4102100"/>
              <a:ext cx="2499643" cy="29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r>
                <a:rPr lang="en-GB" sz="1400">
                  <a:solidFill>
                    <a:srgbClr val="58595B"/>
                  </a:solidFill>
                </a:rPr>
                <a:t>Up to 80% idle capacity</a:t>
              </a:r>
              <a:endParaRPr lang="en-GB" sz="1800"/>
            </a:p>
          </p:txBody>
        </p:sp>
        <p:sp>
          <p:nvSpPr>
            <p:cNvPr id="33" name="Rectangle 23"/>
            <p:cNvSpPr>
              <a:spLocks noChangeArrowheads="1"/>
            </p:cNvSpPr>
            <p:nvPr/>
          </p:nvSpPr>
          <p:spPr bwMode="auto">
            <a:xfrm>
              <a:off x="6334125" y="4102100"/>
              <a:ext cx="2499643" cy="29992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prstTxWarp prst="textNoShape">
                <a:avLst/>
              </a:prstTxWarp>
              <a:spAutoFit/>
            </a:bodyPr>
            <a:lstStyle/>
            <a:p>
              <a:r>
                <a:rPr lang="en-GB" sz="1400">
                  <a:solidFill>
                    <a:srgbClr val="58595B"/>
                  </a:solidFill>
                </a:rPr>
                <a:t>Up to 50% idle capacity</a:t>
              </a:r>
            </a:p>
          </p:txBody>
        </p:sp>
        <p:sp>
          <p:nvSpPr>
            <p:cNvPr id="34" name="Rounded Rectangle 59"/>
            <p:cNvSpPr>
              <a:spLocks noChangeArrowheads="1"/>
            </p:cNvSpPr>
            <p:nvPr/>
          </p:nvSpPr>
          <p:spPr bwMode="auto">
            <a:xfrm>
              <a:off x="3621088" y="5165725"/>
              <a:ext cx="1079500" cy="327025"/>
            </a:xfrm>
            <a:prstGeom prst="roundRect">
              <a:avLst>
                <a:gd name="adj" fmla="val 0"/>
              </a:avLst>
            </a:prstGeom>
            <a:gradFill rotWithShape="1">
              <a:gsLst>
                <a:gs pos="0">
                  <a:srgbClr val="B270C7"/>
                </a:gs>
                <a:gs pos="100000">
                  <a:srgbClr val="7F10A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defTabSz="762000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5" name="Rounded Rectangle 59"/>
            <p:cNvSpPr>
              <a:spLocks noChangeArrowheads="1"/>
            </p:cNvSpPr>
            <p:nvPr/>
          </p:nvSpPr>
          <p:spPr bwMode="auto">
            <a:xfrm>
              <a:off x="3621088" y="4418013"/>
              <a:ext cx="1079500" cy="1065212"/>
            </a:xfrm>
            <a:prstGeom prst="roundRect">
              <a:avLst>
                <a:gd name="adj" fmla="val 0"/>
              </a:avLst>
            </a:prstGeom>
            <a:noFill/>
            <a:ln w="28575">
              <a:solidFill>
                <a:schemeClr val="bg2"/>
              </a:solidFill>
              <a:round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defTabSz="762000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6" name="Rounded Rectangle 59"/>
            <p:cNvSpPr>
              <a:spLocks noChangeArrowheads="1"/>
            </p:cNvSpPr>
            <p:nvPr/>
          </p:nvSpPr>
          <p:spPr bwMode="auto">
            <a:xfrm>
              <a:off x="6757988" y="4964113"/>
              <a:ext cx="1079500" cy="542925"/>
            </a:xfrm>
            <a:prstGeom prst="roundRect">
              <a:avLst>
                <a:gd name="adj" fmla="val 0"/>
              </a:avLst>
            </a:prstGeom>
            <a:gradFill rotWithShape="1">
              <a:gsLst>
                <a:gs pos="0">
                  <a:srgbClr val="B270C7"/>
                </a:gs>
                <a:gs pos="100000">
                  <a:srgbClr val="7F10A2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defTabSz="762000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7" name="Rounded Rectangle 59"/>
            <p:cNvSpPr>
              <a:spLocks noChangeArrowheads="1"/>
            </p:cNvSpPr>
            <p:nvPr/>
          </p:nvSpPr>
          <p:spPr bwMode="auto">
            <a:xfrm>
              <a:off x="6750050" y="4418013"/>
              <a:ext cx="1079500" cy="1084262"/>
            </a:xfrm>
            <a:prstGeom prst="roundRect">
              <a:avLst>
                <a:gd name="adj" fmla="val 0"/>
              </a:avLst>
            </a:prstGeom>
            <a:noFill/>
            <a:ln w="28575">
              <a:solidFill>
                <a:schemeClr val="bg2"/>
              </a:solidFill>
              <a:round/>
              <a:headEnd/>
              <a:tailEnd/>
            </a:ln>
          </p:spPr>
          <p:txBody>
            <a:bodyPr lIns="91439" tIns="45719" rIns="91439" bIns="45719">
              <a:prstTxWarp prst="textNoShape">
                <a:avLst/>
              </a:prstTxWarp>
            </a:bodyPr>
            <a:lstStyle/>
            <a:p>
              <a:pPr defTabSz="762000"/>
              <a:endParaRPr lang="en-US" sz="1400">
                <a:solidFill>
                  <a:schemeClr val="bg1"/>
                </a:solidFill>
              </a:endParaRPr>
            </a:p>
          </p:txBody>
        </p:sp>
        <p:sp>
          <p:nvSpPr>
            <p:cNvPr id="38" name="Line 80"/>
            <p:cNvSpPr>
              <a:spLocks noChangeShapeType="1"/>
            </p:cNvSpPr>
            <p:nvPr/>
          </p:nvSpPr>
          <p:spPr bwMode="auto">
            <a:xfrm>
              <a:off x="1670050" y="4967288"/>
              <a:ext cx="7858125" cy="0"/>
            </a:xfrm>
            <a:prstGeom prst="line">
              <a:avLst/>
            </a:prstGeom>
            <a:noFill/>
            <a:ln w="28575">
              <a:solidFill>
                <a:schemeClr val="hlink"/>
              </a:solidFill>
              <a:prstDash val="dash"/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39" name="Group 6292"/>
            <p:cNvGrpSpPr>
              <a:grpSpLocks/>
            </p:cNvGrpSpPr>
            <p:nvPr/>
          </p:nvGrpSpPr>
          <p:grpSpPr bwMode="auto">
            <a:xfrm>
              <a:off x="9150350" y="4560888"/>
              <a:ext cx="835025" cy="812800"/>
              <a:chOff x="5340" y="2745"/>
              <a:chExt cx="268" cy="268"/>
            </a:xfrm>
          </p:grpSpPr>
          <p:sp>
            <p:nvSpPr>
              <p:cNvPr id="40" name="Freeform 6293"/>
              <p:cNvSpPr>
                <a:spLocks/>
              </p:cNvSpPr>
              <p:nvPr/>
            </p:nvSpPr>
            <p:spPr bwMode="auto">
              <a:xfrm>
                <a:off x="5343" y="2749"/>
                <a:ext cx="261" cy="261"/>
              </a:xfrm>
              <a:custGeom>
                <a:avLst/>
                <a:gdLst>
                  <a:gd name="T0" fmla="*/ 27 w 554"/>
                  <a:gd name="T1" fmla="*/ 24 h 554"/>
                  <a:gd name="T2" fmla="*/ 24 w 554"/>
                  <a:gd name="T3" fmla="*/ 27 h 554"/>
                  <a:gd name="T4" fmla="*/ 3 w 554"/>
                  <a:gd name="T5" fmla="*/ 27 h 554"/>
                  <a:gd name="T6" fmla="*/ 0 w 554"/>
                  <a:gd name="T7" fmla="*/ 24 h 554"/>
                  <a:gd name="T8" fmla="*/ 0 w 554"/>
                  <a:gd name="T9" fmla="*/ 3 h 554"/>
                  <a:gd name="T10" fmla="*/ 3 w 554"/>
                  <a:gd name="T11" fmla="*/ 0 h 554"/>
                  <a:gd name="T12" fmla="*/ 24 w 554"/>
                  <a:gd name="T13" fmla="*/ 0 h 554"/>
                  <a:gd name="T14" fmla="*/ 27 w 554"/>
                  <a:gd name="T15" fmla="*/ 3 h 554"/>
                  <a:gd name="T16" fmla="*/ 27 w 554"/>
                  <a:gd name="T17" fmla="*/ 24 h 5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54"/>
                  <a:gd name="T28" fmla="*/ 0 h 554"/>
                  <a:gd name="T29" fmla="*/ 554 w 554"/>
                  <a:gd name="T30" fmla="*/ 554 h 5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54" h="554">
                    <a:moveTo>
                      <a:pt x="554" y="491"/>
                    </a:moveTo>
                    <a:cubicBezTo>
                      <a:pt x="554" y="526"/>
                      <a:pt x="526" y="554"/>
                      <a:pt x="492" y="554"/>
                    </a:cubicBezTo>
                    <a:cubicBezTo>
                      <a:pt x="63" y="554"/>
                      <a:pt x="63" y="554"/>
                      <a:pt x="63" y="554"/>
                    </a:cubicBezTo>
                    <a:cubicBezTo>
                      <a:pt x="28" y="554"/>
                      <a:pt x="0" y="526"/>
                      <a:pt x="0" y="49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3" y="0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526" y="0"/>
                      <a:pt x="554" y="28"/>
                      <a:pt x="554" y="62"/>
                    </a:cubicBezTo>
                    <a:lnTo>
                      <a:pt x="554" y="491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BE85D0"/>
                  </a:gs>
                  <a:gs pos="100000">
                    <a:srgbClr val="7F10A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42" name="Freeform 6294"/>
              <p:cNvSpPr>
                <a:spLocks noEditPoints="1"/>
              </p:cNvSpPr>
              <p:nvPr/>
            </p:nvSpPr>
            <p:spPr bwMode="auto">
              <a:xfrm>
                <a:off x="5340" y="2745"/>
                <a:ext cx="268" cy="268"/>
              </a:xfrm>
              <a:custGeom>
                <a:avLst/>
                <a:gdLst>
                  <a:gd name="T0" fmla="*/ 4 w 567"/>
                  <a:gd name="T1" fmla="*/ 28 h 567"/>
                  <a:gd name="T2" fmla="*/ 0 w 567"/>
                  <a:gd name="T3" fmla="*/ 25 h 567"/>
                  <a:gd name="T4" fmla="*/ 0 w 567"/>
                  <a:gd name="T5" fmla="*/ 4 h 567"/>
                  <a:gd name="T6" fmla="*/ 4 w 567"/>
                  <a:gd name="T7" fmla="*/ 0 h 567"/>
                  <a:gd name="T8" fmla="*/ 25 w 567"/>
                  <a:gd name="T9" fmla="*/ 0 h 567"/>
                  <a:gd name="T10" fmla="*/ 28 w 567"/>
                  <a:gd name="T11" fmla="*/ 3 h 567"/>
                  <a:gd name="T12" fmla="*/ 28 w 567"/>
                  <a:gd name="T13" fmla="*/ 3 h 567"/>
                  <a:gd name="T14" fmla="*/ 28 w 567"/>
                  <a:gd name="T15" fmla="*/ 25 h 567"/>
                  <a:gd name="T16" fmla="*/ 28 w 567"/>
                  <a:gd name="T17" fmla="*/ 25 h 567"/>
                  <a:gd name="T18" fmla="*/ 28 w 567"/>
                  <a:gd name="T19" fmla="*/ 25 h 567"/>
                  <a:gd name="T20" fmla="*/ 25 w 567"/>
                  <a:gd name="T21" fmla="*/ 28 h 567"/>
                  <a:gd name="T22" fmla="*/ 4 w 567"/>
                  <a:gd name="T23" fmla="*/ 28 h 567"/>
                  <a:gd name="T24" fmla="*/ 0 w 567"/>
                  <a:gd name="T25" fmla="*/ 4 h 567"/>
                  <a:gd name="T26" fmla="*/ 0 w 567"/>
                  <a:gd name="T27" fmla="*/ 25 h 567"/>
                  <a:gd name="T28" fmla="*/ 4 w 567"/>
                  <a:gd name="T29" fmla="*/ 28 h 567"/>
                  <a:gd name="T30" fmla="*/ 25 w 567"/>
                  <a:gd name="T31" fmla="*/ 28 h 567"/>
                  <a:gd name="T32" fmla="*/ 28 w 567"/>
                  <a:gd name="T33" fmla="*/ 25 h 567"/>
                  <a:gd name="T34" fmla="*/ 28 w 567"/>
                  <a:gd name="T35" fmla="*/ 4 h 567"/>
                  <a:gd name="T36" fmla="*/ 28 w 567"/>
                  <a:gd name="T37" fmla="*/ 4 h 567"/>
                  <a:gd name="T38" fmla="*/ 25 w 567"/>
                  <a:gd name="T39" fmla="*/ 0 h 567"/>
                  <a:gd name="T40" fmla="*/ 4 w 567"/>
                  <a:gd name="T41" fmla="*/ 0 h 567"/>
                  <a:gd name="T42" fmla="*/ 0 w 567"/>
                  <a:gd name="T43" fmla="*/ 4 h 567"/>
                  <a:gd name="T44" fmla="*/ 28 w 567"/>
                  <a:gd name="T45" fmla="*/ 4 h 567"/>
                  <a:gd name="T46" fmla="*/ 28 w 567"/>
                  <a:gd name="T47" fmla="*/ 4 h 567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567"/>
                  <a:gd name="T73" fmla="*/ 0 h 567"/>
                  <a:gd name="T74" fmla="*/ 567 w 567"/>
                  <a:gd name="T75" fmla="*/ 567 h 567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567" h="567">
                    <a:moveTo>
                      <a:pt x="69" y="567"/>
                    </a:moveTo>
                    <a:cubicBezTo>
                      <a:pt x="31" y="567"/>
                      <a:pt x="0" y="536"/>
                      <a:pt x="0" y="498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31"/>
                      <a:pt x="31" y="0"/>
                      <a:pt x="69" y="0"/>
                    </a:cubicBezTo>
                    <a:cubicBezTo>
                      <a:pt x="498" y="0"/>
                      <a:pt x="498" y="0"/>
                      <a:pt x="498" y="0"/>
                    </a:cubicBezTo>
                    <a:cubicBezTo>
                      <a:pt x="535" y="0"/>
                      <a:pt x="566" y="31"/>
                      <a:pt x="567" y="68"/>
                    </a:cubicBezTo>
                    <a:cubicBezTo>
                      <a:pt x="567" y="68"/>
                      <a:pt x="567" y="68"/>
                      <a:pt x="567" y="68"/>
                    </a:cubicBezTo>
                    <a:cubicBezTo>
                      <a:pt x="567" y="498"/>
                      <a:pt x="567" y="498"/>
                      <a:pt x="567" y="498"/>
                    </a:cubicBezTo>
                    <a:cubicBezTo>
                      <a:pt x="560" y="498"/>
                      <a:pt x="560" y="498"/>
                      <a:pt x="560" y="498"/>
                    </a:cubicBezTo>
                    <a:cubicBezTo>
                      <a:pt x="567" y="498"/>
                      <a:pt x="567" y="498"/>
                      <a:pt x="567" y="498"/>
                    </a:cubicBezTo>
                    <a:cubicBezTo>
                      <a:pt x="567" y="536"/>
                      <a:pt x="536" y="567"/>
                      <a:pt x="498" y="567"/>
                    </a:cubicBezTo>
                    <a:lnTo>
                      <a:pt x="69" y="567"/>
                    </a:lnTo>
                    <a:close/>
                    <a:moveTo>
                      <a:pt x="13" y="69"/>
                    </a:moveTo>
                    <a:cubicBezTo>
                      <a:pt x="13" y="498"/>
                      <a:pt x="13" y="498"/>
                      <a:pt x="13" y="498"/>
                    </a:cubicBezTo>
                    <a:cubicBezTo>
                      <a:pt x="13" y="529"/>
                      <a:pt x="38" y="554"/>
                      <a:pt x="69" y="554"/>
                    </a:cubicBezTo>
                    <a:cubicBezTo>
                      <a:pt x="498" y="554"/>
                      <a:pt x="498" y="554"/>
                      <a:pt x="498" y="554"/>
                    </a:cubicBezTo>
                    <a:cubicBezTo>
                      <a:pt x="529" y="554"/>
                      <a:pt x="554" y="529"/>
                      <a:pt x="554" y="498"/>
                    </a:cubicBezTo>
                    <a:cubicBezTo>
                      <a:pt x="554" y="70"/>
                      <a:pt x="554" y="70"/>
                      <a:pt x="554" y="70"/>
                    </a:cubicBezTo>
                    <a:cubicBezTo>
                      <a:pt x="554" y="69"/>
                      <a:pt x="554" y="69"/>
                      <a:pt x="554" y="69"/>
                    </a:cubicBezTo>
                    <a:cubicBezTo>
                      <a:pt x="554" y="38"/>
                      <a:pt x="528" y="13"/>
                      <a:pt x="498" y="13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38" y="13"/>
                      <a:pt x="13" y="39"/>
                      <a:pt x="13" y="69"/>
                    </a:cubicBezTo>
                    <a:close/>
                    <a:moveTo>
                      <a:pt x="567" y="69"/>
                    </a:moveTo>
                    <a:cubicBezTo>
                      <a:pt x="567" y="69"/>
                      <a:pt x="567" y="69"/>
                      <a:pt x="567" y="69"/>
                    </a:cubicBezTo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43" name="Freeform 6295"/>
              <p:cNvSpPr>
                <a:spLocks noEditPoints="1"/>
              </p:cNvSpPr>
              <p:nvPr/>
            </p:nvSpPr>
            <p:spPr bwMode="auto">
              <a:xfrm>
                <a:off x="5370" y="2775"/>
                <a:ext cx="209" cy="209"/>
              </a:xfrm>
              <a:custGeom>
                <a:avLst/>
                <a:gdLst>
                  <a:gd name="T0" fmla="*/ 11 w 444"/>
                  <a:gd name="T1" fmla="*/ 0 h 444"/>
                  <a:gd name="T2" fmla="*/ 21 w 444"/>
                  <a:gd name="T3" fmla="*/ 11 h 444"/>
                  <a:gd name="T4" fmla="*/ 11 w 444"/>
                  <a:gd name="T5" fmla="*/ 21 h 444"/>
                  <a:gd name="T6" fmla="*/ 0 w 444"/>
                  <a:gd name="T7" fmla="*/ 11 h 444"/>
                  <a:gd name="T8" fmla="*/ 11 w 444"/>
                  <a:gd name="T9" fmla="*/ 0 h 444"/>
                  <a:gd name="T10" fmla="*/ 11 w 444"/>
                  <a:gd name="T11" fmla="*/ 0 h 444"/>
                  <a:gd name="T12" fmla="*/ 11 w 444"/>
                  <a:gd name="T13" fmla="*/ 0 h 444"/>
                  <a:gd name="T14" fmla="*/ 11 w 444"/>
                  <a:gd name="T15" fmla="*/ 0 h 444"/>
                  <a:gd name="T16" fmla="*/ 0 w 444"/>
                  <a:gd name="T17" fmla="*/ 11 h 444"/>
                  <a:gd name="T18" fmla="*/ 11 w 444"/>
                  <a:gd name="T19" fmla="*/ 22 h 444"/>
                  <a:gd name="T20" fmla="*/ 22 w 444"/>
                  <a:gd name="T21" fmla="*/ 11 h 444"/>
                  <a:gd name="T22" fmla="*/ 11 w 444"/>
                  <a:gd name="T23" fmla="*/ 0 h 444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444"/>
                  <a:gd name="T37" fmla="*/ 0 h 444"/>
                  <a:gd name="T38" fmla="*/ 444 w 444"/>
                  <a:gd name="T39" fmla="*/ 444 h 444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444" h="444">
                    <a:moveTo>
                      <a:pt x="222" y="11"/>
                    </a:moveTo>
                    <a:cubicBezTo>
                      <a:pt x="338" y="12"/>
                      <a:pt x="432" y="106"/>
                      <a:pt x="433" y="222"/>
                    </a:cubicBezTo>
                    <a:cubicBezTo>
                      <a:pt x="432" y="338"/>
                      <a:pt x="338" y="432"/>
                      <a:pt x="222" y="433"/>
                    </a:cubicBezTo>
                    <a:cubicBezTo>
                      <a:pt x="106" y="432"/>
                      <a:pt x="12" y="338"/>
                      <a:pt x="12" y="222"/>
                    </a:cubicBezTo>
                    <a:cubicBezTo>
                      <a:pt x="12" y="106"/>
                      <a:pt x="106" y="12"/>
                      <a:pt x="222" y="11"/>
                    </a:cubicBezTo>
                    <a:moveTo>
                      <a:pt x="222" y="0"/>
                    </a:moveTo>
                    <a:cubicBezTo>
                      <a:pt x="222" y="0"/>
                      <a:pt x="222" y="0"/>
                      <a:pt x="222" y="0"/>
                    </a:cubicBezTo>
                    <a:cubicBezTo>
                      <a:pt x="222" y="0"/>
                      <a:pt x="222" y="0"/>
                      <a:pt x="222" y="0"/>
                    </a:cubicBezTo>
                    <a:cubicBezTo>
                      <a:pt x="100" y="0"/>
                      <a:pt x="0" y="100"/>
                      <a:pt x="0" y="222"/>
                    </a:cubicBezTo>
                    <a:cubicBezTo>
                      <a:pt x="0" y="344"/>
                      <a:pt x="100" y="444"/>
                      <a:pt x="222" y="444"/>
                    </a:cubicBezTo>
                    <a:cubicBezTo>
                      <a:pt x="344" y="444"/>
                      <a:pt x="444" y="344"/>
                      <a:pt x="444" y="222"/>
                    </a:cubicBezTo>
                    <a:cubicBezTo>
                      <a:pt x="444" y="100"/>
                      <a:pt x="344" y="0"/>
                      <a:pt x="222" y="0"/>
                    </a:cubicBez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44" name="Freeform 6296"/>
              <p:cNvSpPr>
                <a:spLocks noEditPoints="1"/>
              </p:cNvSpPr>
              <p:nvPr/>
            </p:nvSpPr>
            <p:spPr bwMode="auto">
              <a:xfrm>
                <a:off x="5374" y="2780"/>
                <a:ext cx="200" cy="200"/>
              </a:xfrm>
              <a:custGeom>
                <a:avLst/>
                <a:gdLst>
                  <a:gd name="T0" fmla="*/ 0 w 423"/>
                  <a:gd name="T1" fmla="*/ 10 h 422"/>
                  <a:gd name="T2" fmla="*/ 21 w 423"/>
                  <a:gd name="T3" fmla="*/ 10 h 422"/>
                  <a:gd name="T4" fmla="*/ 0 w 423"/>
                  <a:gd name="T5" fmla="*/ 14 h 422"/>
                  <a:gd name="T6" fmla="*/ 2 w 423"/>
                  <a:gd name="T7" fmla="*/ 16 h 422"/>
                  <a:gd name="T8" fmla="*/ 0 w 423"/>
                  <a:gd name="T9" fmla="*/ 12 h 422"/>
                  <a:gd name="T10" fmla="*/ 5 w 423"/>
                  <a:gd name="T11" fmla="*/ 19 h 422"/>
                  <a:gd name="T12" fmla="*/ 7 w 423"/>
                  <a:gd name="T13" fmla="*/ 17 h 422"/>
                  <a:gd name="T14" fmla="*/ 6 w 423"/>
                  <a:gd name="T15" fmla="*/ 11 h 422"/>
                  <a:gd name="T16" fmla="*/ 2 w 423"/>
                  <a:gd name="T17" fmla="*/ 9 h 422"/>
                  <a:gd name="T18" fmla="*/ 2 w 423"/>
                  <a:gd name="T19" fmla="*/ 8 h 422"/>
                  <a:gd name="T20" fmla="*/ 3 w 423"/>
                  <a:gd name="T21" fmla="*/ 8 h 422"/>
                  <a:gd name="T22" fmla="*/ 4 w 423"/>
                  <a:gd name="T23" fmla="*/ 8 h 422"/>
                  <a:gd name="T24" fmla="*/ 7 w 423"/>
                  <a:gd name="T25" fmla="*/ 3 h 422"/>
                  <a:gd name="T26" fmla="*/ 5 w 423"/>
                  <a:gd name="T27" fmla="*/ 4 h 422"/>
                  <a:gd name="T28" fmla="*/ 4 w 423"/>
                  <a:gd name="T29" fmla="*/ 2 h 422"/>
                  <a:gd name="T30" fmla="*/ 10 w 423"/>
                  <a:gd name="T31" fmla="*/ 0 h 422"/>
                  <a:gd name="T32" fmla="*/ 14 w 423"/>
                  <a:gd name="T33" fmla="*/ 1 h 422"/>
                  <a:gd name="T34" fmla="*/ 12 w 423"/>
                  <a:gd name="T35" fmla="*/ 2 h 422"/>
                  <a:gd name="T36" fmla="*/ 12 w 423"/>
                  <a:gd name="T37" fmla="*/ 4 h 422"/>
                  <a:gd name="T38" fmla="*/ 13 w 423"/>
                  <a:gd name="T39" fmla="*/ 3 h 422"/>
                  <a:gd name="T40" fmla="*/ 14 w 423"/>
                  <a:gd name="T41" fmla="*/ 3 h 422"/>
                  <a:gd name="T42" fmla="*/ 12 w 423"/>
                  <a:gd name="T43" fmla="*/ 4 h 422"/>
                  <a:gd name="T44" fmla="*/ 11 w 423"/>
                  <a:gd name="T45" fmla="*/ 5 h 422"/>
                  <a:gd name="T46" fmla="*/ 10 w 423"/>
                  <a:gd name="T47" fmla="*/ 6 h 422"/>
                  <a:gd name="T48" fmla="*/ 11 w 423"/>
                  <a:gd name="T49" fmla="*/ 6 h 422"/>
                  <a:gd name="T50" fmla="*/ 13 w 423"/>
                  <a:gd name="T51" fmla="*/ 6 h 422"/>
                  <a:gd name="T52" fmla="*/ 15 w 423"/>
                  <a:gd name="T53" fmla="*/ 7 h 422"/>
                  <a:gd name="T54" fmla="*/ 11 w 423"/>
                  <a:gd name="T55" fmla="*/ 7 h 422"/>
                  <a:gd name="T56" fmla="*/ 8 w 423"/>
                  <a:gd name="T57" fmla="*/ 9 h 422"/>
                  <a:gd name="T58" fmla="*/ 9 w 423"/>
                  <a:gd name="T59" fmla="*/ 14 h 422"/>
                  <a:gd name="T60" fmla="*/ 13 w 423"/>
                  <a:gd name="T61" fmla="*/ 19 h 422"/>
                  <a:gd name="T62" fmla="*/ 14 w 423"/>
                  <a:gd name="T63" fmla="*/ 21 h 422"/>
                  <a:gd name="T64" fmla="*/ 5 w 423"/>
                  <a:gd name="T65" fmla="*/ 19 h 422"/>
                  <a:gd name="T66" fmla="*/ 17 w 423"/>
                  <a:gd name="T67" fmla="*/ 19 h 422"/>
                  <a:gd name="T68" fmla="*/ 17 w 423"/>
                  <a:gd name="T69" fmla="*/ 14 h 422"/>
                  <a:gd name="T70" fmla="*/ 18 w 423"/>
                  <a:gd name="T71" fmla="*/ 12 h 422"/>
                  <a:gd name="T72" fmla="*/ 16 w 423"/>
                  <a:gd name="T73" fmla="*/ 8 h 422"/>
                  <a:gd name="T74" fmla="*/ 16 w 423"/>
                  <a:gd name="T75" fmla="*/ 8 h 422"/>
                  <a:gd name="T76" fmla="*/ 19 w 423"/>
                  <a:gd name="T77" fmla="*/ 10 h 422"/>
                  <a:gd name="T78" fmla="*/ 20 w 423"/>
                  <a:gd name="T79" fmla="*/ 10 h 422"/>
                  <a:gd name="T80" fmla="*/ 21 w 423"/>
                  <a:gd name="T81" fmla="*/ 10 h 422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423"/>
                  <a:gd name="T124" fmla="*/ 0 h 422"/>
                  <a:gd name="T125" fmla="*/ 423 w 423"/>
                  <a:gd name="T126" fmla="*/ 422 h 422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423" h="422">
                    <a:moveTo>
                      <a:pt x="212" y="0"/>
                    </a:moveTo>
                    <a:cubicBezTo>
                      <a:pt x="95" y="0"/>
                      <a:pt x="0" y="94"/>
                      <a:pt x="0" y="211"/>
                    </a:cubicBezTo>
                    <a:cubicBezTo>
                      <a:pt x="0" y="328"/>
                      <a:pt x="95" y="422"/>
                      <a:pt x="212" y="422"/>
                    </a:cubicBezTo>
                    <a:cubicBezTo>
                      <a:pt x="329" y="422"/>
                      <a:pt x="423" y="328"/>
                      <a:pt x="423" y="211"/>
                    </a:cubicBezTo>
                    <a:cubicBezTo>
                      <a:pt x="423" y="94"/>
                      <a:pt x="329" y="0"/>
                      <a:pt x="212" y="0"/>
                    </a:cubicBezTo>
                    <a:close/>
                    <a:moveTo>
                      <a:pt x="15" y="272"/>
                    </a:moveTo>
                    <a:cubicBezTo>
                      <a:pt x="32" y="304"/>
                      <a:pt x="32" y="304"/>
                      <a:pt x="32" y="304"/>
                    </a:cubicBezTo>
                    <a:cubicBezTo>
                      <a:pt x="36" y="320"/>
                      <a:pt x="36" y="320"/>
                      <a:pt x="36" y="320"/>
                    </a:cubicBezTo>
                    <a:cubicBezTo>
                      <a:pt x="19" y="292"/>
                      <a:pt x="8" y="261"/>
                      <a:pt x="5" y="227"/>
                    </a:cubicBezTo>
                    <a:cubicBezTo>
                      <a:pt x="8" y="235"/>
                      <a:pt x="8" y="235"/>
                      <a:pt x="8" y="235"/>
                    </a:cubicBezTo>
                    <a:lnTo>
                      <a:pt x="15" y="272"/>
                    </a:lnTo>
                    <a:close/>
                    <a:moveTo>
                      <a:pt x="94" y="381"/>
                    </a:moveTo>
                    <a:cubicBezTo>
                      <a:pt x="98" y="361"/>
                      <a:pt x="98" y="361"/>
                      <a:pt x="98" y="361"/>
                    </a:cubicBezTo>
                    <a:cubicBezTo>
                      <a:pt x="140" y="329"/>
                      <a:pt x="140" y="329"/>
                      <a:pt x="140" y="329"/>
                    </a:cubicBezTo>
                    <a:cubicBezTo>
                      <a:pt x="156" y="271"/>
                      <a:pt x="156" y="271"/>
                      <a:pt x="156" y="271"/>
                    </a:cubicBezTo>
                    <a:cubicBezTo>
                      <a:pt x="114" y="219"/>
                      <a:pt x="114" y="219"/>
                      <a:pt x="114" y="219"/>
                    </a:cubicBezTo>
                    <a:cubicBezTo>
                      <a:pt x="42" y="215"/>
                      <a:pt x="42" y="215"/>
                      <a:pt x="42" y="215"/>
                    </a:cubicBezTo>
                    <a:cubicBezTo>
                      <a:pt x="46" y="175"/>
                      <a:pt x="46" y="175"/>
                      <a:pt x="46" y="175"/>
                    </a:cubicBezTo>
                    <a:cubicBezTo>
                      <a:pt x="31" y="172"/>
                      <a:pt x="31" y="172"/>
                      <a:pt x="31" y="172"/>
                    </a:cubicBezTo>
                    <a:cubicBezTo>
                      <a:pt x="31" y="172"/>
                      <a:pt x="30" y="150"/>
                      <a:pt x="46" y="148"/>
                    </a:cubicBezTo>
                    <a:cubicBezTo>
                      <a:pt x="50" y="148"/>
                      <a:pt x="66" y="145"/>
                      <a:pt x="66" y="145"/>
                    </a:cubicBezTo>
                    <a:cubicBezTo>
                      <a:pt x="68" y="161"/>
                      <a:pt x="68" y="161"/>
                      <a:pt x="68" y="161"/>
                    </a:cubicBezTo>
                    <a:cubicBezTo>
                      <a:pt x="71" y="160"/>
                      <a:pt x="71" y="160"/>
                      <a:pt x="71" y="160"/>
                    </a:cubicBezTo>
                    <a:cubicBezTo>
                      <a:pt x="81" y="150"/>
                      <a:pt x="81" y="150"/>
                      <a:pt x="81" y="150"/>
                    </a:cubicBezTo>
                    <a:cubicBezTo>
                      <a:pt x="128" y="91"/>
                      <a:pt x="128" y="91"/>
                      <a:pt x="128" y="91"/>
                    </a:cubicBezTo>
                    <a:cubicBezTo>
                      <a:pt x="139" y="52"/>
                      <a:pt x="139" y="52"/>
                      <a:pt x="139" y="52"/>
                    </a:cubicBezTo>
                    <a:cubicBezTo>
                      <a:pt x="121" y="53"/>
                      <a:pt x="121" y="53"/>
                      <a:pt x="121" y="53"/>
                    </a:cubicBezTo>
                    <a:cubicBezTo>
                      <a:pt x="98" y="84"/>
                      <a:pt x="98" y="84"/>
                      <a:pt x="98" y="84"/>
                    </a:cubicBezTo>
                    <a:cubicBezTo>
                      <a:pt x="80" y="69"/>
                      <a:pt x="80" y="69"/>
                      <a:pt x="80" y="69"/>
                    </a:cubicBezTo>
                    <a:cubicBezTo>
                      <a:pt x="83" y="51"/>
                      <a:pt x="83" y="51"/>
                      <a:pt x="83" y="51"/>
                    </a:cubicBezTo>
                    <a:cubicBezTo>
                      <a:pt x="101" y="36"/>
                      <a:pt x="101" y="36"/>
                      <a:pt x="101" y="36"/>
                    </a:cubicBezTo>
                    <a:cubicBezTo>
                      <a:pt x="133" y="16"/>
                      <a:pt x="171" y="4"/>
                      <a:pt x="212" y="4"/>
                    </a:cubicBezTo>
                    <a:cubicBezTo>
                      <a:pt x="243" y="4"/>
                      <a:pt x="272" y="11"/>
                      <a:pt x="298" y="23"/>
                    </a:cubicBezTo>
                    <a:cubicBezTo>
                      <a:pt x="281" y="18"/>
                      <a:pt x="281" y="18"/>
                      <a:pt x="281" y="18"/>
                    </a:cubicBezTo>
                    <a:cubicBezTo>
                      <a:pt x="268" y="32"/>
                      <a:pt x="268" y="32"/>
                      <a:pt x="268" y="32"/>
                    </a:cubicBezTo>
                    <a:cubicBezTo>
                      <a:pt x="251" y="44"/>
                      <a:pt x="251" y="44"/>
                      <a:pt x="251" y="44"/>
                    </a:cubicBezTo>
                    <a:cubicBezTo>
                      <a:pt x="242" y="59"/>
                      <a:pt x="242" y="59"/>
                      <a:pt x="242" y="59"/>
                    </a:cubicBezTo>
                    <a:cubicBezTo>
                      <a:pt x="243" y="69"/>
                      <a:pt x="243" y="69"/>
                      <a:pt x="243" y="69"/>
                    </a:cubicBezTo>
                    <a:cubicBezTo>
                      <a:pt x="262" y="75"/>
                      <a:pt x="262" y="75"/>
                      <a:pt x="262" y="75"/>
                    </a:cubicBezTo>
                    <a:cubicBezTo>
                      <a:pt x="263" y="67"/>
                      <a:pt x="263" y="67"/>
                      <a:pt x="263" y="67"/>
                    </a:cubicBezTo>
                    <a:cubicBezTo>
                      <a:pt x="265" y="58"/>
                      <a:pt x="265" y="58"/>
                      <a:pt x="265" y="58"/>
                    </a:cubicBezTo>
                    <a:cubicBezTo>
                      <a:pt x="271" y="52"/>
                      <a:pt x="271" y="52"/>
                      <a:pt x="271" y="52"/>
                    </a:cubicBezTo>
                    <a:cubicBezTo>
                      <a:pt x="273" y="77"/>
                      <a:pt x="273" y="77"/>
                      <a:pt x="273" y="77"/>
                    </a:cubicBezTo>
                    <a:cubicBezTo>
                      <a:pt x="241" y="84"/>
                      <a:pt x="241" y="84"/>
                      <a:pt x="241" y="84"/>
                    </a:cubicBezTo>
                    <a:cubicBezTo>
                      <a:pt x="226" y="101"/>
                      <a:pt x="226" y="101"/>
                      <a:pt x="226" y="101"/>
                    </a:cubicBezTo>
                    <a:cubicBezTo>
                      <a:pt x="225" y="106"/>
                      <a:pt x="225" y="106"/>
                      <a:pt x="225" y="106"/>
                    </a:cubicBezTo>
                    <a:cubicBezTo>
                      <a:pt x="214" y="104"/>
                      <a:pt x="214" y="104"/>
                      <a:pt x="214" y="104"/>
                    </a:cubicBezTo>
                    <a:cubicBezTo>
                      <a:pt x="209" y="115"/>
                      <a:pt x="209" y="115"/>
                      <a:pt x="209" y="115"/>
                    </a:cubicBezTo>
                    <a:cubicBezTo>
                      <a:pt x="214" y="126"/>
                      <a:pt x="214" y="126"/>
                      <a:pt x="214" y="126"/>
                    </a:cubicBezTo>
                    <a:cubicBezTo>
                      <a:pt x="225" y="127"/>
                      <a:pt x="225" y="127"/>
                      <a:pt x="225" y="127"/>
                    </a:cubicBezTo>
                    <a:cubicBezTo>
                      <a:pt x="234" y="120"/>
                      <a:pt x="234" y="120"/>
                      <a:pt x="234" y="120"/>
                    </a:cubicBezTo>
                    <a:cubicBezTo>
                      <a:pt x="260" y="115"/>
                      <a:pt x="260" y="115"/>
                      <a:pt x="260" y="115"/>
                    </a:cubicBezTo>
                    <a:cubicBezTo>
                      <a:pt x="293" y="132"/>
                      <a:pt x="293" y="132"/>
                      <a:pt x="293" y="132"/>
                    </a:cubicBezTo>
                    <a:cubicBezTo>
                      <a:pt x="291" y="143"/>
                      <a:pt x="291" y="143"/>
                      <a:pt x="291" y="143"/>
                    </a:cubicBezTo>
                    <a:cubicBezTo>
                      <a:pt x="251" y="143"/>
                      <a:pt x="251" y="143"/>
                      <a:pt x="251" y="143"/>
                    </a:cubicBezTo>
                    <a:cubicBezTo>
                      <a:pt x="228" y="132"/>
                      <a:pt x="228" y="132"/>
                      <a:pt x="228" y="132"/>
                    </a:cubicBezTo>
                    <a:cubicBezTo>
                      <a:pt x="201" y="148"/>
                      <a:pt x="201" y="148"/>
                      <a:pt x="201" y="148"/>
                    </a:cubicBezTo>
                    <a:cubicBezTo>
                      <a:pt x="161" y="182"/>
                      <a:pt x="161" y="182"/>
                      <a:pt x="161" y="182"/>
                    </a:cubicBezTo>
                    <a:cubicBezTo>
                      <a:pt x="152" y="220"/>
                      <a:pt x="152" y="220"/>
                      <a:pt x="152" y="220"/>
                    </a:cubicBezTo>
                    <a:cubicBezTo>
                      <a:pt x="188" y="280"/>
                      <a:pt x="188" y="280"/>
                      <a:pt x="188" y="280"/>
                    </a:cubicBezTo>
                    <a:cubicBezTo>
                      <a:pt x="252" y="294"/>
                      <a:pt x="252" y="294"/>
                      <a:pt x="252" y="294"/>
                    </a:cubicBezTo>
                    <a:cubicBezTo>
                      <a:pt x="266" y="379"/>
                      <a:pt x="266" y="379"/>
                      <a:pt x="266" y="379"/>
                    </a:cubicBezTo>
                    <a:cubicBezTo>
                      <a:pt x="261" y="397"/>
                      <a:pt x="261" y="397"/>
                      <a:pt x="261" y="397"/>
                    </a:cubicBezTo>
                    <a:cubicBezTo>
                      <a:pt x="271" y="409"/>
                      <a:pt x="271" y="409"/>
                      <a:pt x="271" y="409"/>
                    </a:cubicBezTo>
                    <a:cubicBezTo>
                      <a:pt x="252" y="415"/>
                      <a:pt x="232" y="418"/>
                      <a:pt x="212" y="418"/>
                    </a:cubicBezTo>
                    <a:cubicBezTo>
                      <a:pt x="168" y="418"/>
                      <a:pt x="128" y="404"/>
                      <a:pt x="94" y="381"/>
                    </a:cubicBezTo>
                    <a:close/>
                    <a:moveTo>
                      <a:pt x="327" y="383"/>
                    </a:moveTo>
                    <a:cubicBezTo>
                      <a:pt x="330" y="375"/>
                      <a:pt x="330" y="375"/>
                      <a:pt x="330" y="375"/>
                    </a:cubicBezTo>
                    <a:cubicBezTo>
                      <a:pt x="348" y="361"/>
                      <a:pt x="348" y="361"/>
                      <a:pt x="348" y="361"/>
                    </a:cubicBezTo>
                    <a:cubicBezTo>
                      <a:pt x="354" y="272"/>
                      <a:pt x="354" y="272"/>
                      <a:pt x="354" y="272"/>
                    </a:cubicBezTo>
                    <a:cubicBezTo>
                      <a:pt x="388" y="237"/>
                      <a:pt x="388" y="237"/>
                      <a:pt x="388" y="237"/>
                    </a:cubicBezTo>
                    <a:cubicBezTo>
                      <a:pt x="362" y="237"/>
                      <a:pt x="362" y="237"/>
                      <a:pt x="362" y="237"/>
                    </a:cubicBezTo>
                    <a:cubicBezTo>
                      <a:pt x="350" y="221"/>
                      <a:pt x="350" y="221"/>
                      <a:pt x="350" y="221"/>
                    </a:cubicBezTo>
                    <a:cubicBezTo>
                      <a:pt x="308" y="153"/>
                      <a:pt x="308" y="153"/>
                      <a:pt x="308" y="153"/>
                    </a:cubicBezTo>
                    <a:cubicBezTo>
                      <a:pt x="297" y="144"/>
                      <a:pt x="297" y="144"/>
                      <a:pt x="297" y="144"/>
                    </a:cubicBezTo>
                    <a:cubicBezTo>
                      <a:pt x="310" y="145"/>
                      <a:pt x="310" y="145"/>
                      <a:pt x="310" y="145"/>
                    </a:cubicBezTo>
                    <a:cubicBezTo>
                      <a:pt x="374" y="215"/>
                      <a:pt x="374" y="215"/>
                      <a:pt x="374" y="215"/>
                    </a:cubicBezTo>
                    <a:cubicBezTo>
                      <a:pt x="387" y="202"/>
                      <a:pt x="387" y="202"/>
                      <a:pt x="387" y="202"/>
                    </a:cubicBezTo>
                    <a:cubicBezTo>
                      <a:pt x="385" y="189"/>
                      <a:pt x="385" y="189"/>
                      <a:pt x="385" y="189"/>
                    </a:cubicBezTo>
                    <a:cubicBezTo>
                      <a:pt x="402" y="195"/>
                      <a:pt x="402" y="195"/>
                      <a:pt x="402" y="195"/>
                    </a:cubicBezTo>
                    <a:cubicBezTo>
                      <a:pt x="418" y="198"/>
                      <a:pt x="418" y="198"/>
                      <a:pt x="418" y="198"/>
                    </a:cubicBezTo>
                    <a:cubicBezTo>
                      <a:pt x="419" y="202"/>
                      <a:pt x="419" y="207"/>
                      <a:pt x="419" y="211"/>
                    </a:cubicBezTo>
                    <a:cubicBezTo>
                      <a:pt x="419" y="283"/>
                      <a:pt x="382" y="346"/>
                      <a:pt x="327" y="383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  <p:grpSp>
          <p:nvGrpSpPr>
            <p:cNvPr id="45" name="Group 5324"/>
            <p:cNvGrpSpPr>
              <a:grpSpLocks/>
            </p:cNvGrpSpPr>
            <p:nvPr/>
          </p:nvGrpSpPr>
          <p:grpSpPr bwMode="auto">
            <a:xfrm>
              <a:off x="1371600" y="4551363"/>
              <a:ext cx="862013" cy="812800"/>
              <a:chOff x="7171" y="1220"/>
              <a:chExt cx="268" cy="268"/>
            </a:xfrm>
          </p:grpSpPr>
          <p:sp>
            <p:nvSpPr>
              <p:cNvPr id="46" name="Freeform 5325"/>
              <p:cNvSpPr>
                <a:spLocks/>
              </p:cNvSpPr>
              <p:nvPr/>
            </p:nvSpPr>
            <p:spPr bwMode="auto">
              <a:xfrm>
                <a:off x="7175" y="1223"/>
                <a:ext cx="261" cy="262"/>
              </a:xfrm>
              <a:custGeom>
                <a:avLst/>
                <a:gdLst>
                  <a:gd name="T0" fmla="*/ 27 w 554"/>
                  <a:gd name="T1" fmla="*/ 25 h 554"/>
                  <a:gd name="T2" fmla="*/ 24 w 554"/>
                  <a:gd name="T3" fmla="*/ 28 h 554"/>
                  <a:gd name="T4" fmla="*/ 3 w 554"/>
                  <a:gd name="T5" fmla="*/ 28 h 554"/>
                  <a:gd name="T6" fmla="*/ 0 w 554"/>
                  <a:gd name="T7" fmla="*/ 25 h 554"/>
                  <a:gd name="T8" fmla="*/ 0 w 554"/>
                  <a:gd name="T9" fmla="*/ 3 h 554"/>
                  <a:gd name="T10" fmla="*/ 3 w 554"/>
                  <a:gd name="T11" fmla="*/ 0 h 554"/>
                  <a:gd name="T12" fmla="*/ 24 w 554"/>
                  <a:gd name="T13" fmla="*/ 0 h 554"/>
                  <a:gd name="T14" fmla="*/ 27 w 554"/>
                  <a:gd name="T15" fmla="*/ 3 h 554"/>
                  <a:gd name="T16" fmla="*/ 27 w 554"/>
                  <a:gd name="T17" fmla="*/ 25 h 554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54"/>
                  <a:gd name="T28" fmla="*/ 0 h 554"/>
                  <a:gd name="T29" fmla="*/ 554 w 554"/>
                  <a:gd name="T30" fmla="*/ 554 h 554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54" h="554">
                    <a:moveTo>
                      <a:pt x="554" y="491"/>
                    </a:moveTo>
                    <a:cubicBezTo>
                      <a:pt x="554" y="526"/>
                      <a:pt x="526" y="554"/>
                      <a:pt x="491" y="554"/>
                    </a:cubicBezTo>
                    <a:cubicBezTo>
                      <a:pt x="62" y="554"/>
                      <a:pt x="62" y="554"/>
                      <a:pt x="62" y="554"/>
                    </a:cubicBezTo>
                    <a:cubicBezTo>
                      <a:pt x="28" y="554"/>
                      <a:pt x="0" y="526"/>
                      <a:pt x="0" y="491"/>
                    </a:cubicBezTo>
                    <a:cubicBezTo>
                      <a:pt x="0" y="62"/>
                      <a:pt x="0" y="62"/>
                      <a:pt x="0" y="62"/>
                    </a:cubicBezTo>
                    <a:cubicBezTo>
                      <a:pt x="0" y="28"/>
                      <a:pt x="28" y="0"/>
                      <a:pt x="62" y="0"/>
                    </a:cubicBezTo>
                    <a:cubicBezTo>
                      <a:pt x="491" y="0"/>
                      <a:pt x="491" y="0"/>
                      <a:pt x="491" y="0"/>
                    </a:cubicBezTo>
                    <a:cubicBezTo>
                      <a:pt x="526" y="0"/>
                      <a:pt x="554" y="28"/>
                      <a:pt x="554" y="62"/>
                    </a:cubicBezTo>
                    <a:lnTo>
                      <a:pt x="554" y="491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BE85D0"/>
                  </a:gs>
                  <a:gs pos="100000">
                    <a:srgbClr val="7F10A2"/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47" name="Freeform 5326"/>
              <p:cNvSpPr>
                <a:spLocks noEditPoints="1"/>
              </p:cNvSpPr>
              <p:nvPr/>
            </p:nvSpPr>
            <p:spPr bwMode="auto">
              <a:xfrm>
                <a:off x="7171" y="1220"/>
                <a:ext cx="268" cy="268"/>
              </a:xfrm>
              <a:custGeom>
                <a:avLst/>
                <a:gdLst>
                  <a:gd name="T0" fmla="*/ 4 w 567"/>
                  <a:gd name="T1" fmla="*/ 28 h 567"/>
                  <a:gd name="T2" fmla="*/ 0 w 567"/>
                  <a:gd name="T3" fmla="*/ 25 h 567"/>
                  <a:gd name="T4" fmla="*/ 0 w 567"/>
                  <a:gd name="T5" fmla="*/ 4 h 567"/>
                  <a:gd name="T6" fmla="*/ 4 w 567"/>
                  <a:gd name="T7" fmla="*/ 0 h 567"/>
                  <a:gd name="T8" fmla="*/ 25 w 567"/>
                  <a:gd name="T9" fmla="*/ 0 h 567"/>
                  <a:gd name="T10" fmla="*/ 28 w 567"/>
                  <a:gd name="T11" fmla="*/ 4 h 567"/>
                  <a:gd name="T12" fmla="*/ 28 w 567"/>
                  <a:gd name="T13" fmla="*/ 4 h 567"/>
                  <a:gd name="T14" fmla="*/ 28 w 567"/>
                  <a:gd name="T15" fmla="*/ 25 h 567"/>
                  <a:gd name="T16" fmla="*/ 25 w 567"/>
                  <a:gd name="T17" fmla="*/ 28 h 567"/>
                  <a:gd name="T18" fmla="*/ 4 w 567"/>
                  <a:gd name="T19" fmla="*/ 28 h 567"/>
                  <a:gd name="T20" fmla="*/ 0 w 567"/>
                  <a:gd name="T21" fmla="*/ 4 h 567"/>
                  <a:gd name="T22" fmla="*/ 0 w 567"/>
                  <a:gd name="T23" fmla="*/ 25 h 567"/>
                  <a:gd name="T24" fmla="*/ 4 w 567"/>
                  <a:gd name="T25" fmla="*/ 28 h 567"/>
                  <a:gd name="T26" fmla="*/ 25 w 567"/>
                  <a:gd name="T27" fmla="*/ 28 h 567"/>
                  <a:gd name="T28" fmla="*/ 28 w 567"/>
                  <a:gd name="T29" fmla="*/ 25 h 567"/>
                  <a:gd name="T30" fmla="*/ 28 w 567"/>
                  <a:gd name="T31" fmla="*/ 4 h 567"/>
                  <a:gd name="T32" fmla="*/ 28 w 567"/>
                  <a:gd name="T33" fmla="*/ 4 h 567"/>
                  <a:gd name="T34" fmla="*/ 25 w 567"/>
                  <a:gd name="T35" fmla="*/ 0 h 567"/>
                  <a:gd name="T36" fmla="*/ 4 w 567"/>
                  <a:gd name="T37" fmla="*/ 0 h 567"/>
                  <a:gd name="T38" fmla="*/ 0 w 567"/>
                  <a:gd name="T39" fmla="*/ 4 h 567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w 567"/>
                  <a:gd name="T61" fmla="*/ 0 h 567"/>
                  <a:gd name="T62" fmla="*/ 567 w 567"/>
                  <a:gd name="T63" fmla="*/ 567 h 567"/>
                </a:gdLst>
                <a:ahLst/>
                <a:cxnLst>
                  <a:cxn ang="T40">
                    <a:pos x="T0" y="T1"/>
                  </a:cxn>
                  <a:cxn ang="T41">
                    <a:pos x="T2" y="T3"/>
                  </a:cxn>
                  <a:cxn ang="T42">
                    <a:pos x="T4" y="T5"/>
                  </a:cxn>
                  <a:cxn ang="T43">
                    <a:pos x="T6" y="T7"/>
                  </a:cxn>
                  <a:cxn ang="T44">
                    <a:pos x="T8" y="T9"/>
                  </a:cxn>
                  <a:cxn ang="T45">
                    <a:pos x="T10" y="T11"/>
                  </a:cxn>
                  <a:cxn ang="T46">
                    <a:pos x="T12" y="T13"/>
                  </a:cxn>
                  <a:cxn ang="T47">
                    <a:pos x="T14" y="T15"/>
                  </a:cxn>
                  <a:cxn ang="T48">
                    <a:pos x="T16" y="T17"/>
                  </a:cxn>
                  <a:cxn ang="T49">
                    <a:pos x="T18" y="T19"/>
                  </a:cxn>
                  <a:cxn ang="T50">
                    <a:pos x="T20" y="T21"/>
                  </a:cxn>
                  <a:cxn ang="T51">
                    <a:pos x="T22" y="T23"/>
                  </a:cxn>
                  <a:cxn ang="T52">
                    <a:pos x="T24" y="T25"/>
                  </a:cxn>
                  <a:cxn ang="T53">
                    <a:pos x="T26" y="T27"/>
                  </a:cxn>
                  <a:cxn ang="T54">
                    <a:pos x="T28" y="T29"/>
                  </a:cxn>
                  <a:cxn ang="T55">
                    <a:pos x="T30" y="T31"/>
                  </a:cxn>
                  <a:cxn ang="T56">
                    <a:pos x="T32" y="T33"/>
                  </a:cxn>
                  <a:cxn ang="T57">
                    <a:pos x="T34" y="T35"/>
                  </a:cxn>
                  <a:cxn ang="T58">
                    <a:pos x="T36" y="T37"/>
                  </a:cxn>
                  <a:cxn ang="T59">
                    <a:pos x="T38" y="T39"/>
                  </a:cxn>
                </a:cxnLst>
                <a:rect l="T60" t="T61" r="T62" b="T63"/>
                <a:pathLst>
                  <a:path w="567" h="567">
                    <a:moveTo>
                      <a:pt x="69" y="567"/>
                    </a:moveTo>
                    <a:cubicBezTo>
                      <a:pt x="31" y="567"/>
                      <a:pt x="0" y="536"/>
                      <a:pt x="0" y="498"/>
                    </a:cubicBezTo>
                    <a:cubicBezTo>
                      <a:pt x="0" y="69"/>
                      <a:pt x="0" y="69"/>
                      <a:pt x="0" y="69"/>
                    </a:cubicBezTo>
                    <a:cubicBezTo>
                      <a:pt x="0" y="31"/>
                      <a:pt x="31" y="0"/>
                      <a:pt x="69" y="0"/>
                    </a:cubicBezTo>
                    <a:cubicBezTo>
                      <a:pt x="498" y="0"/>
                      <a:pt x="498" y="0"/>
                      <a:pt x="498" y="0"/>
                    </a:cubicBezTo>
                    <a:cubicBezTo>
                      <a:pt x="536" y="0"/>
                      <a:pt x="567" y="31"/>
                      <a:pt x="567" y="69"/>
                    </a:cubicBezTo>
                    <a:cubicBezTo>
                      <a:pt x="567" y="69"/>
                      <a:pt x="567" y="69"/>
                      <a:pt x="567" y="69"/>
                    </a:cubicBezTo>
                    <a:cubicBezTo>
                      <a:pt x="567" y="498"/>
                      <a:pt x="567" y="498"/>
                      <a:pt x="567" y="498"/>
                    </a:cubicBezTo>
                    <a:cubicBezTo>
                      <a:pt x="567" y="536"/>
                      <a:pt x="536" y="567"/>
                      <a:pt x="498" y="567"/>
                    </a:cubicBezTo>
                    <a:lnTo>
                      <a:pt x="69" y="567"/>
                    </a:lnTo>
                    <a:close/>
                    <a:moveTo>
                      <a:pt x="13" y="69"/>
                    </a:moveTo>
                    <a:cubicBezTo>
                      <a:pt x="13" y="498"/>
                      <a:pt x="13" y="498"/>
                      <a:pt x="13" y="498"/>
                    </a:cubicBezTo>
                    <a:cubicBezTo>
                      <a:pt x="13" y="529"/>
                      <a:pt x="38" y="554"/>
                      <a:pt x="69" y="554"/>
                    </a:cubicBezTo>
                    <a:cubicBezTo>
                      <a:pt x="498" y="554"/>
                      <a:pt x="498" y="554"/>
                      <a:pt x="498" y="554"/>
                    </a:cubicBezTo>
                    <a:cubicBezTo>
                      <a:pt x="529" y="554"/>
                      <a:pt x="554" y="529"/>
                      <a:pt x="554" y="498"/>
                    </a:cubicBezTo>
                    <a:cubicBezTo>
                      <a:pt x="554" y="70"/>
                      <a:pt x="554" y="70"/>
                      <a:pt x="554" y="70"/>
                    </a:cubicBezTo>
                    <a:cubicBezTo>
                      <a:pt x="554" y="69"/>
                      <a:pt x="554" y="69"/>
                      <a:pt x="554" y="69"/>
                    </a:cubicBezTo>
                    <a:cubicBezTo>
                      <a:pt x="554" y="38"/>
                      <a:pt x="529" y="13"/>
                      <a:pt x="498" y="13"/>
                    </a:cubicBezTo>
                    <a:cubicBezTo>
                      <a:pt x="69" y="13"/>
                      <a:pt x="69" y="13"/>
                      <a:pt x="69" y="13"/>
                    </a:cubicBezTo>
                    <a:cubicBezTo>
                      <a:pt x="38" y="13"/>
                      <a:pt x="13" y="38"/>
                      <a:pt x="13" y="69"/>
                    </a:cubicBez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48" name="Freeform 5327"/>
              <p:cNvSpPr>
                <a:spLocks/>
              </p:cNvSpPr>
              <p:nvPr/>
            </p:nvSpPr>
            <p:spPr bwMode="auto">
              <a:xfrm>
                <a:off x="7197" y="1311"/>
                <a:ext cx="154" cy="143"/>
              </a:xfrm>
              <a:custGeom>
                <a:avLst/>
                <a:gdLst>
                  <a:gd name="T0" fmla="*/ 16 w 327"/>
                  <a:gd name="T1" fmla="*/ 5 h 303"/>
                  <a:gd name="T2" fmla="*/ 11 w 327"/>
                  <a:gd name="T3" fmla="*/ 0 h 303"/>
                  <a:gd name="T4" fmla="*/ 10 w 327"/>
                  <a:gd name="T5" fmla="*/ 0 h 303"/>
                  <a:gd name="T6" fmla="*/ 6 w 327"/>
                  <a:gd name="T7" fmla="*/ 0 h 303"/>
                  <a:gd name="T8" fmla="*/ 4 w 327"/>
                  <a:gd name="T9" fmla="*/ 0 h 303"/>
                  <a:gd name="T10" fmla="*/ 4 w 327"/>
                  <a:gd name="T11" fmla="*/ 1 h 303"/>
                  <a:gd name="T12" fmla="*/ 0 w 327"/>
                  <a:gd name="T13" fmla="*/ 5 h 303"/>
                  <a:gd name="T14" fmla="*/ 0 w 327"/>
                  <a:gd name="T15" fmla="*/ 6 h 303"/>
                  <a:gd name="T16" fmla="*/ 2 w 327"/>
                  <a:gd name="T17" fmla="*/ 8 h 303"/>
                  <a:gd name="T18" fmla="*/ 4 w 327"/>
                  <a:gd name="T19" fmla="*/ 8 h 303"/>
                  <a:gd name="T20" fmla="*/ 4 w 327"/>
                  <a:gd name="T21" fmla="*/ 8 h 303"/>
                  <a:gd name="T22" fmla="*/ 5 w 327"/>
                  <a:gd name="T23" fmla="*/ 8 h 303"/>
                  <a:gd name="T24" fmla="*/ 5 w 327"/>
                  <a:gd name="T25" fmla="*/ 12 h 303"/>
                  <a:gd name="T26" fmla="*/ 5 w 327"/>
                  <a:gd name="T27" fmla="*/ 13 h 303"/>
                  <a:gd name="T28" fmla="*/ 5 w 327"/>
                  <a:gd name="T29" fmla="*/ 14 h 303"/>
                  <a:gd name="T30" fmla="*/ 7 w 327"/>
                  <a:gd name="T31" fmla="*/ 15 h 303"/>
                  <a:gd name="T32" fmla="*/ 9 w 327"/>
                  <a:gd name="T33" fmla="*/ 15 h 303"/>
                  <a:gd name="T34" fmla="*/ 11 w 327"/>
                  <a:gd name="T35" fmla="*/ 14 h 303"/>
                  <a:gd name="T36" fmla="*/ 11 w 327"/>
                  <a:gd name="T37" fmla="*/ 13 h 303"/>
                  <a:gd name="T38" fmla="*/ 11 w 327"/>
                  <a:gd name="T39" fmla="*/ 12 h 303"/>
                  <a:gd name="T40" fmla="*/ 11 w 327"/>
                  <a:gd name="T41" fmla="*/ 8 h 303"/>
                  <a:gd name="T42" fmla="*/ 12 w 327"/>
                  <a:gd name="T43" fmla="*/ 8 h 303"/>
                  <a:gd name="T44" fmla="*/ 14 w 327"/>
                  <a:gd name="T45" fmla="*/ 8 h 303"/>
                  <a:gd name="T46" fmla="*/ 16 w 327"/>
                  <a:gd name="T47" fmla="*/ 6 h 303"/>
                  <a:gd name="T48" fmla="*/ 16 w 327"/>
                  <a:gd name="T49" fmla="*/ 5 h 30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27"/>
                  <a:gd name="T76" fmla="*/ 0 h 303"/>
                  <a:gd name="T77" fmla="*/ 327 w 327"/>
                  <a:gd name="T78" fmla="*/ 303 h 30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27" h="303">
                    <a:moveTo>
                      <a:pt x="314" y="94"/>
                    </a:moveTo>
                    <a:cubicBezTo>
                      <a:pt x="314" y="94"/>
                      <a:pt x="265" y="44"/>
                      <a:pt x="236" y="15"/>
                    </a:cubicBezTo>
                    <a:cubicBezTo>
                      <a:pt x="227" y="5"/>
                      <a:pt x="215" y="0"/>
                      <a:pt x="203" y="0"/>
                    </a:cubicBezTo>
                    <a:cubicBezTo>
                      <a:pt x="124" y="0"/>
                      <a:pt x="124" y="0"/>
                      <a:pt x="124" y="0"/>
                    </a:cubicBezTo>
                    <a:cubicBezTo>
                      <a:pt x="112" y="0"/>
                      <a:pt x="100" y="5"/>
                      <a:pt x="91" y="14"/>
                    </a:cubicBezTo>
                    <a:cubicBezTo>
                      <a:pt x="86" y="20"/>
                      <a:pt x="86" y="20"/>
                      <a:pt x="86" y="20"/>
                    </a:cubicBezTo>
                    <a:cubicBezTo>
                      <a:pt x="86" y="20"/>
                      <a:pt x="58" y="48"/>
                      <a:pt x="15" y="93"/>
                    </a:cubicBezTo>
                    <a:cubicBezTo>
                      <a:pt x="5" y="101"/>
                      <a:pt x="0" y="114"/>
                      <a:pt x="0" y="127"/>
                    </a:cubicBezTo>
                    <a:cubicBezTo>
                      <a:pt x="0" y="153"/>
                      <a:pt x="20" y="175"/>
                      <a:pt x="46" y="175"/>
                    </a:cubicBezTo>
                    <a:cubicBezTo>
                      <a:pt x="58" y="175"/>
                      <a:pt x="69" y="170"/>
                      <a:pt x="78" y="162"/>
                    </a:cubicBezTo>
                    <a:cubicBezTo>
                      <a:pt x="78" y="162"/>
                      <a:pt x="81" y="159"/>
                      <a:pt x="90" y="149"/>
                    </a:cubicBezTo>
                    <a:cubicBezTo>
                      <a:pt x="94" y="146"/>
                      <a:pt x="94" y="146"/>
                      <a:pt x="94" y="146"/>
                    </a:cubicBezTo>
                    <a:cubicBezTo>
                      <a:pt x="94" y="253"/>
                      <a:pt x="94" y="253"/>
                      <a:pt x="94" y="253"/>
                    </a:cubicBezTo>
                    <a:cubicBezTo>
                      <a:pt x="94" y="254"/>
                      <a:pt x="93" y="255"/>
                      <a:pt x="93" y="255"/>
                    </a:cubicBezTo>
                    <a:cubicBezTo>
                      <a:pt x="93" y="268"/>
                      <a:pt x="98" y="280"/>
                      <a:pt x="107" y="289"/>
                    </a:cubicBezTo>
                    <a:cubicBezTo>
                      <a:pt x="115" y="297"/>
                      <a:pt x="126" y="302"/>
                      <a:pt x="137" y="303"/>
                    </a:cubicBezTo>
                    <a:cubicBezTo>
                      <a:pt x="187" y="303"/>
                      <a:pt x="187" y="303"/>
                      <a:pt x="187" y="303"/>
                    </a:cubicBezTo>
                    <a:cubicBezTo>
                      <a:pt x="199" y="303"/>
                      <a:pt x="211" y="298"/>
                      <a:pt x="220" y="289"/>
                    </a:cubicBezTo>
                    <a:cubicBezTo>
                      <a:pt x="228" y="280"/>
                      <a:pt x="233" y="268"/>
                      <a:pt x="233" y="255"/>
                    </a:cubicBezTo>
                    <a:cubicBezTo>
                      <a:pt x="233" y="253"/>
                      <a:pt x="233" y="253"/>
                      <a:pt x="233" y="253"/>
                    </a:cubicBezTo>
                    <a:cubicBezTo>
                      <a:pt x="233" y="253"/>
                      <a:pt x="233" y="167"/>
                      <a:pt x="233" y="146"/>
                    </a:cubicBezTo>
                    <a:cubicBezTo>
                      <a:pt x="238" y="150"/>
                      <a:pt x="249" y="162"/>
                      <a:pt x="249" y="162"/>
                    </a:cubicBezTo>
                    <a:cubicBezTo>
                      <a:pt x="258" y="170"/>
                      <a:pt x="269" y="175"/>
                      <a:pt x="281" y="175"/>
                    </a:cubicBezTo>
                    <a:cubicBezTo>
                      <a:pt x="306" y="175"/>
                      <a:pt x="327" y="154"/>
                      <a:pt x="327" y="127"/>
                    </a:cubicBezTo>
                    <a:cubicBezTo>
                      <a:pt x="327" y="115"/>
                      <a:pt x="322" y="103"/>
                      <a:pt x="314" y="9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49" name="Freeform 5328"/>
              <p:cNvSpPr>
                <a:spLocks noEditPoints="1"/>
              </p:cNvSpPr>
              <p:nvPr/>
            </p:nvSpPr>
            <p:spPr bwMode="auto">
              <a:xfrm>
                <a:off x="7193" y="1307"/>
                <a:ext cx="162" cy="150"/>
              </a:xfrm>
              <a:custGeom>
                <a:avLst/>
                <a:gdLst>
                  <a:gd name="T0" fmla="*/ 7 w 343"/>
                  <a:gd name="T1" fmla="*/ 16 h 317"/>
                  <a:gd name="T2" fmla="*/ 5 w 343"/>
                  <a:gd name="T3" fmla="*/ 13 h 317"/>
                  <a:gd name="T4" fmla="*/ 5 w 343"/>
                  <a:gd name="T5" fmla="*/ 9 h 317"/>
                  <a:gd name="T6" fmla="*/ 3 w 343"/>
                  <a:gd name="T7" fmla="*/ 9 h 317"/>
                  <a:gd name="T8" fmla="*/ 1 w 343"/>
                  <a:gd name="T9" fmla="*/ 5 h 317"/>
                  <a:gd name="T10" fmla="*/ 5 w 343"/>
                  <a:gd name="T11" fmla="*/ 1 h 317"/>
                  <a:gd name="T12" fmla="*/ 10 w 343"/>
                  <a:gd name="T13" fmla="*/ 0 h 317"/>
                  <a:gd name="T14" fmla="*/ 16 w 343"/>
                  <a:gd name="T15" fmla="*/ 5 h 317"/>
                  <a:gd name="T16" fmla="*/ 16 w 343"/>
                  <a:gd name="T17" fmla="*/ 5 h 317"/>
                  <a:gd name="T18" fmla="*/ 16 w 343"/>
                  <a:gd name="T19" fmla="*/ 5 h 317"/>
                  <a:gd name="T20" fmla="*/ 14 w 343"/>
                  <a:gd name="T21" fmla="*/ 9 h 317"/>
                  <a:gd name="T22" fmla="*/ 12 w 343"/>
                  <a:gd name="T23" fmla="*/ 9 h 317"/>
                  <a:gd name="T24" fmla="*/ 12 w 343"/>
                  <a:gd name="T25" fmla="*/ 13 h 317"/>
                  <a:gd name="T26" fmla="*/ 12 w 343"/>
                  <a:gd name="T27" fmla="*/ 15 h 317"/>
                  <a:gd name="T28" fmla="*/ 9 w 343"/>
                  <a:gd name="T29" fmla="*/ 16 h 317"/>
                  <a:gd name="T30" fmla="*/ 9 w 343"/>
                  <a:gd name="T31" fmla="*/ 15 h 317"/>
                  <a:gd name="T32" fmla="*/ 11 w 343"/>
                  <a:gd name="T33" fmla="*/ 15 h 317"/>
                  <a:gd name="T34" fmla="*/ 12 w 343"/>
                  <a:gd name="T35" fmla="*/ 13 h 317"/>
                  <a:gd name="T36" fmla="*/ 12 w 343"/>
                  <a:gd name="T37" fmla="*/ 8 h 317"/>
                  <a:gd name="T38" fmla="*/ 13 w 343"/>
                  <a:gd name="T39" fmla="*/ 8 h 317"/>
                  <a:gd name="T40" fmla="*/ 16 w 343"/>
                  <a:gd name="T41" fmla="*/ 7 h 317"/>
                  <a:gd name="T42" fmla="*/ 16 w 343"/>
                  <a:gd name="T43" fmla="*/ 5 h 317"/>
                  <a:gd name="T44" fmla="*/ 16 w 343"/>
                  <a:gd name="T45" fmla="*/ 5 h 317"/>
                  <a:gd name="T46" fmla="*/ 16 w 343"/>
                  <a:gd name="T47" fmla="*/ 5 h 317"/>
                  <a:gd name="T48" fmla="*/ 14 w 343"/>
                  <a:gd name="T49" fmla="*/ 4 h 317"/>
                  <a:gd name="T50" fmla="*/ 10 w 343"/>
                  <a:gd name="T51" fmla="*/ 0 h 317"/>
                  <a:gd name="T52" fmla="*/ 5 w 343"/>
                  <a:gd name="T53" fmla="*/ 1 h 317"/>
                  <a:gd name="T54" fmla="*/ 1 w 343"/>
                  <a:gd name="T55" fmla="*/ 5 h 317"/>
                  <a:gd name="T56" fmla="*/ 3 w 343"/>
                  <a:gd name="T57" fmla="*/ 9 h 317"/>
                  <a:gd name="T58" fmla="*/ 5 w 343"/>
                  <a:gd name="T59" fmla="*/ 8 h 317"/>
                  <a:gd name="T60" fmla="*/ 5 w 343"/>
                  <a:gd name="T61" fmla="*/ 8 h 317"/>
                  <a:gd name="T62" fmla="*/ 5 w 343"/>
                  <a:gd name="T63" fmla="*/ 13 h 317"/>
                  <a:gd name="T64" fmla="*/ 5 w 343"/>
                  <a:gd name="T65" fmla="*/ 13 h 317"/>
                  <a:gd name="T66" fmla="*/ 8 w 343"/>
                  <a:gd name="T67" fmla="*/ 15 h 317"/>
                  <a:gd name="T68" fmla="*/ 16 w 343"/>
                  <a:gd name="T69" fmla="*/ 5 h 31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43"/>
                  <a:gd name="T106" fmla="*/ 0 h 317"/>
                  <a:gd name="T107" fmla="*/ 343 w 343"/>
                  <a:gd name="T108" fmla="*/ 317 h 31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43" h="317">
                    <a:moveTo>
                      <a:pt x="145" y="317"/>
                    </a:moveTo>
                    <a:cubicBezTo>
                      <a:pt x="145" y="317"/>
                      <a:pt x="145" y="317"/>
                      <a:pt x="145" y="317"/>
                    </a:cubicBezTo>
                    <a:cubicBezTo>
                      <a:pt x="132" y="316"/>
                      <a:pt x="119" y="311"/>
                      <a:pt x="110" y="301"/>
                    </a:cubicBezTo>
                    <a:cubicBezTo>
                      <a:pt x="100" y="291"/>
                      <a:pt x="94" y="277"/>
                      <a:pt x="94" y="262"/>
                    </a:cubicBezTo>
                    <a:cubicBezTo>
                      <a:pt x="94" y="262"/>
                      <a:pt x="94" y="261"/>
                      <a:pt x="94" y="260"/>
                    </a:cubicBezTo>
                    <a:cubicBezTo>
                      <a:pt x="94" y="171"/>
                      <a:pt x="94" y="171"/>
                      <a:pt x="94" y="171"/>
                    </a:cubicBezTo>
                    <a:cubicBezTo>
                      <a:pt x="92" y="173"/>
                      <a:pt x="91" y="174"/>
                      <a:pt x="91" y="174"/>
                    </a:cubicBezTo>
                    <a:cubicBezTo>
                      <a:pt x="81" y="184"/>
                      <a:pt x="68" y="189"/>
                      <a:pt x="54" y="189"/>
                    </a:cubicBezTo>
                    <a:cubicBezTo>
                      <a:pt x="24" y="189"/>
                      <a:pt x="0" y="165"/>
                      <a:pt x="0" y="134"/>
                    </a:cubicBezTo>
                    <a:cubicBezTo>
                      <a:pt x="0" y="119"/>
                      <a:pt x="6" y="104"/>
                      <a:pt x="17" y="94"/>
                    </a:cubicBezTo>
                    <a:cubicBezTo>
                      <a:pt x="60" y="50"/>
                      <a:pt x="88" y="22"/>
                      <a:pt x="88" y="22"/>
                    </a:cubicBezTo>
                    <a:cubicBezTo>
                      <a:pt x="94" y="16"/>
                      <a:pt x="94" y="16"/>
                      <a:pt x="94" y="16"/>
                    </a:cubicBezTo>
                    <a:cubicBezTo>
                      <a:pt x="104" y="6"/>
                      <a:pt x="118" y="0"/>
                      <a:pt x="132" y="0"/>
                    </a:cubicBezTo>
                    <a:cubicBezTo>
                      <a:pt x="211" y="0"/>
                      <a:pt x="211" y="0"/>
                      <a:pt x="211" y="0"/>
                    </a:cubicBezTo>
                    <a:cubicBezTo>
                      <a:pt x="225" y="0"/>
                      <a:pt x="239" y="6"/>
                      <a:pt x="249" y="16"/>
                    </a:cubicBezTo>
                    <a:cubicBezTo>
                      <a:pt x="278" y="46"/>
                      <a:pt x="326" y="95"/>
                      <a:pt x="328" y="96"/>
                    </a:cubicBezTo>
                    <a:cubicBezTo>
                      <a:pt x="328" y="96"/>
                      <a:pt x="328" y="96"/>
                      <a:pt x="328" y="96"/>
                    </a:cubicBezTo>
                    <a:cubicBezTo>
                      <a:pt x="328" y="96"/>
                      <a:pt x="328" y="96"/>
                      <a:pt x="328" y="96"/>
                    </a:cubicBezTo>
                    <a:cubicBezTo>
                      <a:pt x="328" y="96"/>
                      <a:pt x="328" y="96"/>
                      <a:pt x="328" y="96"/>
                    </a:cubicBezTo>
                    <a:cubicBezTo>
                      <a:pt x="328" y="96"/>
                      <a:pt x="328" y="96"/>
                      <a:pt x="328" y="96"/>
                    </a:cubicBezTo>
                    <a:cubicBezTo>
                      <a:pt x="338" y="107"/>
                      <a:pt x="343" y="120"/>
                      <a:pt x="343" y="134"/>
                    </a:cubicBezTo>
                    <a:cubicBezTo>
                      <a:pt x="343" y="165"/>
                      <a:pt x="319" y="189"/>
                      <a:pt x="289" y="189"/>
                    </a:cubicBezTo>
                    <a:cubicBezTo>
                      <a:pt x="275" y="189"/>
                      <a:pt x="262" y="184"/>
                      <a:pt x="251" y="174"/>
                    </a:cubicBezTo>
                    <a:cubicBezTo>
                      <a:pt x="251" y="174"/>
                      <a:pt x="250" y="173"/>
                      <a:pt x="249" y="172"/>
                    </a:cubicBezTo>
                    <a:cubicBezTo>
                      <a:pt x="249" y="204"/>
                      <a:pt x="249" y="260"/>
                      <a:pt x="249" y="260"/>
                    </a:cubicBezTo>
                    <a:cubicBezTo>
                      <a:pt x="249" y="260"/>
                      <a:pt x="249" y="260"/>
                      <a:pt x="249" y="260"/>
                    </a:cubicBezTo>
                    <a:cubicBezTo>
                      <a:pt x="249" y="262"/>
                      <a:pt x="249" y="262"/>
                      <a:pt x="249" y="262"/>
                    </a:cubicBezTo>
                    <a:cubicBezTo>
                      <a:pt x="249" y="277"/>
                      <a:pt x="243" y="291"/>
                      <a:pt x="233" y="301"/>
                    </a:cubicBezTo>
                    <a:cubicBezTo>
                      <a:pt x="223" y="311"/>
                      <a:pt x="210" y="317"/>
                      <a:pt x="195" y="317"/>
                    </a:cubicBezTo>
                    <a:cubicBezTo>
                      <a:pt x="195" y="317"/>
                      <a:pt x="195" y="317"/>
                      <a:pt x="195" y="317"/>
                    </a:cubicBezTo>
                    <a:lnTo>
                      <a:pt x="145" y="317"/>
                    </a:lnTo>
                    <a:close/>
                    <a:moveTo>
                      <a:pt x="194" y="302"/>
                    </a:moveTo>
                    <a:cubicBezTo>
                      <a:pt x="195" y="302"/>
                      <a:pt x="195" y="302"/>
                      <a:pt x="195" y="302"/>
                    </a:cubicBezTo>
                    <a:cubicBezTo>
                      <a:pt x="205" y="302"/>
                      <a:pt x="215" y="298"/>
                      <a:pt x="222" y="290"/>
                    </a:cubicBezTo>
                    <a:cubicBezTo>
                      <a:pt x="229" y="283"/>
                      <a:pt x="233" y="273"/>
                      <a:pt x="233" y="263"/>
                    </a:cubicBezTo>
                    <a:cubicBezTo>
                      <a:pt x="233" y="260"/>
                      <a:pt x="233" y="260"/>
                      <a:pt x="233" y="260"/>
                    </a:cubicBezTo>
                    <a:cubicBezTo>
                      <a:pt x="233" y="260"/>
                      <a:pt x="233" y="174"/>
                      <a:pt x="234" y="153"/>
                    </a:cubicBezTo>
                    <a:cubicBezTo>
                      <a:pt x="234" y="150"/>
                      <a:pt x="235" y="147"/>
                      <a:pt x="238" y="145"/>
                    </a:cubicBezTo>
                    <a:cubicBezTo>
                      <a:pt x="241" y="144"/>
                      <a:pt x="245" y="145"/>
                      <a:pt x="247" y="147"/>
                    </a:cubicBezTo>
                    <a:cubicBezTo>
                      <a:pt x="251" y="152"/>
                      <a:pt x="262" y="163"/>
                      <a:pt x="262" y="163"/>
                    </a:cubicBezTo>
                    <a:cubicBezTo>
                      <a:pt x="270" y="170"/>
                      <a:pt x="279" y="174"/>
                      <a:pt x="289" y="174"/>
                    </a:cubicBezTo>
                    <a:cubicBezTo>
                      <a:pt x="310" y="174"/>
                      <a:pt x="328" y="156"/>
                      <a:pt x="328" y="134"/>
                    </a:cubicBezTo>
                    <a:cubicBezTo>
                      <a:pt x="328" y="124"/>
                      <a:pt x="324" y="114"/>
                      <a:pt x="317" y="107"/>
                    </a:cubicBezTo>
                    <a:cubicBezTo>
                      <a:pt x="316" y="107"/>
                      <a:pt x="316" y="107"/>
                      <a:pt x="316" y="107"/>
                    </a:cubicBezTo>
                    <a:cubicBezTo>
                      <a:pt x="316" y="106"/>
                      <a:pt x="316" y="106"/>
                      <a:pt x="316" y="106"/>
                    </a:cubicBezTo>
                    <a:cubicBezTo>
                      <a:pt x="316" y="106"/>
                      <a:pt x="316" y="106"/>
                      <a:pt x="316" y="106"/>
                    </a:cubicBezTo>
                    <a:cubicBezTo>
                      <a:pt x="316" y="106"/>
                      <a:pt x="316" y="106"/>
                      <a:pt x="316" y="106"/>
                    </a:cubicBezTo>
                    <a:cubicBezTo>
                      <a:pt x="315" y="106"/>
                      <a:pt x="315" y="105"/>
                      <a:pt x="314" y="104"/>
                    </a:cubicBezTo>
                    <a:cubicBezTo>
                      <a:pt x="313" y="103"/>
                      <a:pt x="311" y="101"/>
                      <a:pt x="308" y="98"/>
                    </a:cubicBezTo>
                    <a:cubicBezTo>
                      <a:pt x="303" y="93"/>
                      <a:pt x="296" y="86"/>
                      <a:pt x="288" y="78"/>
                    </a:cubicBezTo>
                    <a:cubicBezTo>
                      <a:pt x="272" y="62"/>
                      <a:pt x="253" y="42"/>
                      <a:pt x="238" y="27"/>
                    </a:cubicBezTo>
                    <a:cubicBezTo>
                      <a:pt x="231" y="19"/>
                      <a:pt x="221" y="15"/>
                      <a:pt x="211" y="15"/>
                    </a:cubicBezTo>
                    <a:cubicBezTo>
                      <a:pt x="132" y="15"/>
                      <a:pt x="132" y="15"/>
                      <a:pt x="132" y="15"/>
                    </a:cubicBezTo>
                    <a:cubicBezTo>
                      <a:pt x="122" y="15"/>
                      <a:pt x="112" y="19"/>
                      <a:pt x="105" y="27"/>
                    </a:cubicBezTo>
                    <a:cubicBezTo>
                      <a:pt x="99" y="33"/>
                      <a:pt x="99" y="33"/>
                      <a:pt x="99" y="33"/>
                    </a:cubicBezTo>
                    <a:cubicBezTo>
                      <a:pt x="99" y="33"/>
                      <a:pt x="71" y="61"/>
                      <a:pt x="28" y="105"/>
                    </a:cubicBezTo>
                    <a:cubicBezTo>
                      <a:pt x="20" y="113"/>
                      <a:pt x="15" y="123"/>
                      <a:pt x="15" y="134"/>
                    </a:cubicBezTo>
                    <a:cubicBezTo>
                      <a:pt x="15" y="156"/>
                      <a:pt x="33" y="174"/>
                      <a:pt x="54" y="174"/>
                    </a:cubicBezTo>
                    <a:cubicBezTo>
                      <a:pt x="64" y="174"/>
                      <a:pt x="73" y="170"/>
                      <a:pt x="80" y="163"/>
                    </a:cubicBezTo>
                    <a:cubicBezTo>
                      <a:pt x="80" y="163"/>
                      <a:pt x="83" y="160"/>
                      <a:pt x="93" y="150"/>
                    </a:cubicBezTo>
                    <a:cubicBezTo>
                      <a:pt x="96" y="147"/>
                      <a:pt x="96" y="147"/>
                      <a:pt x="96" y="147"/>
                    </a:cubicBezTo>
                    <a:cubicBezTo>
                      <a:pt x="98" y="145"/>
                      <a:pt x="102" y="144"/>
                      <a:pt x="105" y="146"/>
                    </a:cubicBezTo>
                    <a:cubicBezTo>
                      <a:pt x="107" y="147"/>
                      <a:pt x="109" y="150"/>
                      <a:pt x="109" y="153"/>
                    </a:cubicBezTo>
                    <a:cubicBezTo>
                      <a:pt x="109" y="260"/>
                      <a:pt x="109" y="260"/>
                      <a:pt x="109" y="260"/>
                    </a:cubicBezTo>
                    <a:cubicBezTo>
                      <a:pt x="109" y="261"/>
                      <a:pt x="109" y="261"/>
                      <a:pt x="109" y="261"/>
                    </a:cubicBezTo>
                    <a:cubicBezTo>
                      <a:pt x="109" y="262"/>
                      <a:pt x="109" y="262"/>
                      <a:pt x="109" y="262"/>
                    </a:cubicBezTo>
                    <a:cubicBezTo>
                      <a:pt x="109" y="273"/>
                      <a:pt x="113" y="283"/>
                      <a:pt x="121" y="290"/>
                    </a:cubicBezTo>
                    <a:cubicBezTo>
                      <a:pt x="127" y="297"/>
                      <a:pt x="136" y="301"/>
                      <a:pt x="146" y="302"/>
                    </a:cubicBezTo>
                    <a:cubicBezTo>
                      <a:pt x="149" y="302"/>
                      <a:pt x="191" y="302"/>
                      <a:pt x="194" y="302"/>
                    </a:cubicBezTo>
                    <a:close/>
                    <a:moveTo>
                      <a:pt x="316" y="106"/>
                    </a:moveTo>
                    <a:cubicBezTo>
                      <a:pt x="316" y="106"/>
                      <a:pt x="316" y="106"/>
                      <a:pt x="316" y="106"/>
                    </a:cubicBezTo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50" name="Freeform 5329"/>
              <p:cNvSpPr>
                <a:spLocks/>
              </p:cNvSpPr>
              <p:nvPr/>
            </p:nvSpPr>
            <p:spPr bwMode="auto">
              <a:xfrm>
                <a:off x="7260" y="1311"/>
                <a:ext cx="155" cy="143"/>
              </a:xfrm>
              <a:custGeom>
                <a:avLst/>
                <a:gdLst>
                  <a:gd name="T0" fmla="*/ 16 w 328"/>
                  <a:gd name="T1" fmla="*/ 5 h 303"/>
                  <a:gd name="T2" fmla="*/ 12 w 328"/>
                  <a:gd name="T3" fmla="*/ 0 h 303"/>
                  <a:gd name="T4" fmla="*/ 10 w 328"/>
                  <a:gd name="T5" fmla="*/ 0 h 303"/>
                  <a:gd name="T6" fmla="*/ 6 w 328"/>
                  <a:gd name="T7" fmla="*/ 0 h 303"/>
                  <a:gd name="T8" fmla="*/ 4 w 328"/>
                  <a:gd name="T9" fmla="*/ 0 h 303"/>
                  <a:gd name="T10" fmla="*/ 3 w 328"/>
                  <a:gd name="T11" fmla="*/ 3 h 303"/>
                  <a:gd name="T12" fmla="*/ 0 w 328"/>
                  <a:gd name="T13" fmla="*/ 5 h 303"/>
                  <a:gd name="T14" fmla="*/ 0 w 328"/>
                  <a:gd name="T15" fmla="*/ 6 h 303"/>
                  <a:gd name="T16" fmla="*/ 2 w 328"/>
                  <a:gd name="T17" fmla="*/ 8 h 303"/>
                  <a:gd name="T18" fmla="*/ 4 w 328"/>
                  <a:gd name="T19" fmla="*/ 8 h 303"/>
                  <a:gd name="T20" fmla="*/ 4 w 328"/>
                  <a:gd name="T21" fmla="*/ 8 h 303"/>
                  <a:gd name="T22" fmla="*/ 2 w 328"/>
                  <a:gd name="T23" fmla="*/ 12 h 303"/>
                  <a:gd name="T24" fmla="*/ 2 w 328"/>
                  <a:gd name="T25" fmla="*/ 13 h 303"/>
                  <a:gd name="T26" fmla="*/ 5 w 328"/>
                  <a:gd name="T27" fmla="*/ 15 h 303"/>
                  <a:gd name="T28" fmla="*/ 5 w 328"/>
                  <a:gd name="T29" fmla="*/ 15 h 303"/>
                  <a:gd name="T30" fmla="*/ 6 w 328"/>
                  <a:gd name="T31" fmla="*/ 15 h 303"/>
                  <a:gd name="T32" fmla="*/ 12 w 328"/>
                  <a:gd name="T33" fmla="*/ 15 h 303"/>
                  <a:gd name="T34" fmla="*/ 14 w 328"/>
                  <a:gd name="T35" fmla="*/ 13 h 303"/>
                  <a:gd name="T36" fmla="*/ 14 w 328"/>
                  <a:gd name="T37" fmla="*/ 12 h 303"/>
                  <a:gd name="T38" fmla="*/ 13 w 328"/>
                  <a:gd name="T39" fmla="*/ 11 h 303"/>
                  <a:gd name="T40" fmla="*/ 12 w 328"/>
                  <a:gd name="T41" fmla="*/ 8 h 303"/>
                  <a:gd name="T42" fmla="*/ 12 w 328"/>
                  <a:gd name="T43" fmla="*/ 8 h 303"/>
                  <a:gd name="T44" fmla="*/ 14 w 328"/>
                  <a:gd name="T45" fmla="*/ 8 h 303"/>
                  <a:gd name="T46" fmla="*/ 16 w 328"/>
                  <a:gd name="T47" fmla="*/ 6 h 303"/>
                  <a:gd name="T48" fmla="*/ 16 w 328"/>
                  <a:gd name="T49" fmla="*/ 5 h 30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28"/>
                  <a:gd name="T76" fmla="*/ 0 h 303"/>
                  <a:gd name="T77" fmla="*/ 328 w 328"/>
                  <a:gd name="T78" fmla="*/ 303 h 30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28" h="303">
                    <a:moveTo>
                      <a:pt x="315" y="94"/>
                    </a:moveTo>
                    <a:cubicBezTo>
                      <a:pt x="237" y="15"/>
                      <a:pt x="237" y="15"/>
                      <a:pt x="237" y="15"/>
                    </a:cubicBezTo>
                    <a:cubicBezTo>
                      <a:pt x="228" y="5"/>
                      <a:pt x="216" y="0"/>
                      <a:pt x="203" y="0"/>
                    </a:cubicBezTo>
                    <a:cubicBezTo>
                      <a:pt x="125" y="0"/>
                      <a:pt x="125" y="0"/>
                      <a:pt x="125" y="0"/>
                    </a:cubicBezTo>
                    <a:cubicBezTo>
                      <a:pt x="113" y="0"/>
                      <a:pt x="101" y="5"/>
                      <a:pt x="92" y="15"/>
                    </a:cubicBezTo>
                    <a:cubicBezTo>
                      <a:pt x="92" y="15"/>
                      <a:pt x="78" y="29"/>
                      <a:pt x="54" y="54"/>
                    </a:cubicBezTo>
                    <a:cubicBezTo>
                      <a:pt x="15" y="93"/>
                      <a:pt x="15" y="93"/>
                      <a:pt x="15" y="93"/>
                    </a:cubicBezTo>
                    <a:cubicBezTo>
                      <a:pt x="6" y="102"/>
                      <a:pt x="0" y="114"/>
                      <a:pt x="0" y="127"/>
                    </a:cubicBezTo>
                    <a:cubicBezTo>
                      <a:pt x="0" y="153"/>
                      <a:pt x="21" y="175"/>
                      <a:pt x="47" y="175"/>
                    </a:cubicBezTo>
                    <a:cubicBezTo>
                      <a:pt x="59" y="175"/>
                      <a:pt x="70" y="170"/>
                      <a:pt x="79" y="162"/>
                    </a:cubicBezTo>
                    <a:cubicBezTo>
                      <a:pt x="79" y="162"/>
                      <a:pt x="80" y="160"/>
                      <a:pt x="82" y="158"/>
                    </a:cubicBezTo>
                    <a:cubicBezTo>
                      <a:pt x="76" y="173"/>
                      <a:pt x="50" y="240"/>
                      <a:pt x="50" y="240"/>
                    </a:cubicBezTo>
                    <a:cubicBezTo>
                      <a:pt x="48" y="245"/>
                      <a:pt x="47" y="250"/>
                      <a:pt x="47" y="255"/>
                    </a:cubicBezTo>
                    <a:cubicBezTo>
                      <a:pt x="47" y="281"/>
                      <a:pt x="68" y="303"/>
                      <a:pt x="94" y="303"/>
                    </a:cubicBezTo>
                    <a:cubicBezTo>
                      <a:pt x="101" y="303"/>
                      <a:pt x="101" y="303"/>
                      <a:pt x="101" y="303"/>
                    </a:cubicBezTo>
                    <a:cubicBezTo>
                      <a:pt x="105" y="303"/>
                      <a:pt x="109" y="303"/>
                      <a:pt x="116" y="303"/>
                    </a:cubicBezTo>
                    <a:cubicBezTo>
                      <a:pt x="236" y="303"/>
                      <a:pt x="236" y="303"/>
                      <a:pt x="236" y="303"/>
                    </a:cubicBezTo>
                    <a:cubicBezTo>
                      <a:pt x="261" y="302"/>
                      <a:pt x="281" y="281"/>
                      <a:pt x="281" y="255"/>
                    </a:cubicBezTo>
                    <a:cubicBezTo>
                      <a:pt x="281" y="248"/>
                      <a:pt x="276" y="236"/>
                      <a:pt x="276" y="236"/>
                    </a:cubicBezTo>
                    <a:cubicBezTo>
                      <a:pt x="276" y="233"/>
                      <a:pt x="274" y="228"/>
                      <a:pt x="268" y="213"/>
                    </a:cubicBezTo>
                    <a:cubicBezTo>
                      <a:pt x="268" y="213"/>
                      <a:pt x="252" y="172"/>
                      <a:pt x="246" y="158"/>
                    </a:cubicBezTo>
                    <a:cubicBezTo>
                      <a:pt x="248" y="160"/>
                      <a:pt x="250" y="162"/>
                      <a:pt x="250" y="162"/>
                    </a:cubicBezTo>
                    <a:cubicBezTo>
                      <a:pt x="259" y="170"/>
                      <a:pt x="270" y="175"/>
                      <a:pt x="282" y="175"/>
                    </a:cubicBezTo>
                    <a:cubicBezTo>
                      <a:pt x="307" y="175"/>
                      <a:pt x="328" y="153"/>
                      <a:pt x="328" y="127"/>
                    </a:cubicBezTo>
                    <a:cubicBezTo>
                      <a:pt x="328" y="115"/>
                      <a:pt x="323" y="103"/>
                      <a:pt x="315" y="94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51" name="Freeform 5330"/>
              <p:cNvSpPr>
                <a:spLocks noEditPoints="1"/>
              </p:cNvSpPr>
              <p:nvPr/>
            </p:nvSpPr>
            <p:spPr bwMode="auto">
              <a:xfrm>
                <a:off x="7256" y="1307"/>
                <a:ext cx="162" cy="150"/>
              </a:xfrm>
              <a:custGeom>
                <a:avLst/>
                <a:gdLst>
                  <a:gd name="T0" fmla="*/ 5 w 343"/>
                  <a:gd name="T1" fmla="*/ 16 h 317"/>
                  <a:gd name="T2" fmla="*/ 2 w 343"/>
                  <a:gd name="T3" fmla="*/ 13 h 317"/>
                  <a:gd name="T4" fmla="*/ 2 w 343"/>
                  <a:gd name="T5" fmla="*/ 12 h 317"/>
                  <a:gd name="T6" fmla="*/ 3 w 343"/>
                  <a:gd name="T7" fmla="*/ 9 h 317"/>
                  <a:gd name="T8" fmla="*/ 1 w 343"/>
                  <a:gd name="T9" fmla="*/ 5 h 317"/>
                  <a:gd name="T10" fmla="*/ 5 w 343"/>
                  <a:gd name="T11" fmla="*/ 1 h 317"/>
                  <a:gd name="T12" fmla="*/ 10 w 343"/>
                  <a:gd name="T13" fmla="*/ 0 h 317"/>
                  <a:gd name="T14" fmla="*/ 16 w 343"/>
                  <a:gd name="T15" fmla="*/ 5 h 317"/>
                  <a:gd name="T16" fmla="*/ 17 w 343"/>
                  <a:gd name="T17" fmla="*/ 7 h 317"/>
                  <a:gd name="T18" fmla="*/ 13 w 343"/>
                  <a:gd name="T19" fmla="*/ 9 h 317"/>
                  <a:gd name="T20" fmla="*/ 15 w 343"/>
                  <a:gd name="T21" fmla="*/ 12 h 317"/>
                  <a:gd name="T22" fmla="*/ 15 w 343"/>
                  <a:gd name="T23" fmla="*/ 12 h 317"/>
                  <a:gd name="T24" fmla="*/ 15 w 343"/>
                  <a:gd name="T25" fmla="*/ 13 h 317"/>
                  <a:gd name="T26" fmla="*/ 6 w 343"/>
                  <a:gd name="T27" fmla="*/ 16 h 317"/>
                  <a:gd name="T28" fmla="*/ 12 w 343"/>
                  <a:gd name="T29" fmla="*/ 15 h 317"/>
                  <a:gd name="T30" fmla="*/ 14 w 343"/>
                  <a:gd name="T31" fmla="*/ 12 h 317"/>
                  <a:gd name="T32" fmla="*/ 14 w 343"/>
                  <a:gd name="T33" fmla="*/ 12 h 317"/>
                  <a:gd name="T34" fmla="*/ 12 w 343"/>
                  <a:gd name="T35" fmla="*/ 9 h 317"/>
                  <a:gd name="T36" fmla="*/ 13 w 343"/>
                  <a:gd name="T37" fmla="*/ 8 h 317"/>
                  <a:gd name="T38" fmla="*/ 14 w 343"/>
                  <a:gd name="T39" fmla="*/ 9 h 317"/>
                  <a:gd name="T40" fmla="*/ 16 w 343"/>
                  <a:gd name="T41" fmla="*/ 5 h 317"/>
                  <a:gd name="T42" fmla="*/ 12 w 343"/>
                  <a:gd name="T43" fmla="*/ 1 h 317"/>
                  <a:gd name="T44" fmla="*/ 7 w 343"/>
                  <a:gd name="T45" fmla="*/ 0 h 317"/>
                  <a:gd name="T46" fmla="*/ 3 w 343"/>
                  <a:gd name="T47" fmla="*/ 3 h 317"/>
                  <a:gd name="T48" fmla="*/ 0 w 343"/>
                  <a:gd name="T49" fmla="*/ 7 h 317"/>
                  <a:gd name="T50" fmla="*/ 4 w 343"/>
                  <a:gd name="T51" fmla="*/ 8 h 317"/>
                  <a:gd name="T52" fmla="*/ 5 w 343"/>
                  <a:gd name="T53" fmla="*/ 8 h 317"/>
                  <a:gd name="T54" fmla="*/ 3 w 343"/>
                  <a:gd name="T55" fmla="*/ 12 h 317"/>
                  <a:gd name="T56" fmla="*/ 5 w 343"/>
                  <a:gd name="T57" fmla="*/ 15 h 317"/>
                  <a:gd name="T58" fmla="*/ 6 w 343"/>
                  <a:gd name="T59" fmla="*/ 15 h 317"/>
                  <a:gd name="T60" fmla="*/ 15 w 343"/>
                  <a:gd name="T61" fmla="*/ 12 h 317"/>
                  <a:gd name="T62" fmla="*/ 14 w 343"/>
                  <a:gd name="T63" fmla="*/ 12 h 317"/>
                  <a:gd name="T64" fmla="*/ 14 w 343"/>
                  <a:gd name="T65" fmla="*/ 12 h 317"/>
                  <a:gd name="T66" fmla="*/ 14 w 343"/>
                  <a:gd name="T67" fmla="*/ 12 h 317"/>
                  <a:gd name="T68" fmla="*/ 14 w 343"/>
                  <a:gd name="T69" fmla="*/ 12 h 317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343"/>
                  <a:gd name="T106" fmla="*/ 0 h 317"/>
                  <a:gd name="T107" fmla="*/ 343 w 343"/>
                  <a:gd name="T108" fmla="*/ 317 h 317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343" h="317">
                    <a:moveTo>
                      <a:pt x="123" y="317"/>
                    </a:moveTo>
                    <a:cubicBezTo>
                      <a:pt x="116" y="317"/>
                      <a:pt x="112" y="317"/>
                      <a:pt x="108" y="317"/>
                    </a:cubicBezTo>
                    <a:cubicBezTo>
                      <a:pt x="101" y="317"/>
                      <a:pt x="101" y="317"/>
                      <a:pt x="101" y="317"/>
                    </a:cubicBezTo>
                    <a:cubicBezTo>
                      <a:pt x="71" y="317"/>
                      <a:pt x="47" y="293"/>
                      <a:pt x="47" y="262"/>
                    </a:cubicBezTo>
                    <a:cubicBezTo>
                      <a:pt x="47" y="256"/>
                      <a:pt x="48" y="251"/>
                      <a:pt x="49" y="245"/>
                    </a:cubicBezTo>
                    <a:cubicBezTo>
                      <a:pt x="50" y="244"/>
                      <a:pt x="50" y="244"/>
                      <a:pt x="50" y="244"/>
                    </a:cubicBezTo>
                    <a:cubicBezTo>
                      <a:pt x="50" y="244"/>
                      <a:pt x="63" y="211"/>
                      <a:pt x="73" y="186"/>
                    </a:cubicBezTo>
                    <a:cubicBezTo>
                      <a:pt x="67" y="188"/>
                      <a:pt x="60" y="189"/>
                      <a:pt x="54" y="189"/>
                    </a:cubicBezTo>
                    <a:cubicBezTo>
                      <a:pt x="24" y="189"/>
                      <a:pt x="0" y="165"/>
                      <a:pt x="0" y="134"/>
                    </a:cubicBezTo>
                    <a:cubicBezTo>
                      <a:pt x="0" y="119"/>
                      <a:pt x="6" y="104"/>
                      <a:pt x="17" y="94"/>
                    </a:cubicBezTo>
                    <a:cubicBezTo>
                      <a:pt x="55" y="55"/>
                      <a:pt x="55" y="55"/>
                      <a:pt x="55" y="55"/>
                    </a:cubicBezTo>
                    <a:cubicBezTo>
                      <a:pt x="79" y="30"/>
                      <a:pt x="93" y="16"/>
                      <a:pt x="93" y="16"/>
                    </a:cubicBezTo>
                    <a:cubicBezTo>
                      <a:pt x="104" y="6"/>
                      <a:pt x="117" y="0"/>
                      <a:pt x="132" y="0"/>
                    </a:cubicBezTo>
                    <a:cubicBezTo>
                      <a:pt x="210" y="0"/>
                      <a:pt x="210" y="0"/>
                      <a:pt x="210" y="0"/>
                    </a:cubicBezTo>
                    <a:cubicBezTo>
                      <a:pt x="225" y="0"/>
                      <a:pt x="239" y="6"/>
                      <a:pt x="249" y="16"/>
                    </a:cubicBezTo>
                    <a:cubicBezTo>
                      <a:pt x="327" y="96"/>
                      <a:pt x="327" y="96"/>
                      <a:pt x="327" y="96"/>
                    </a:cubicBezTo>
                    <a:cubicBezTo>
                      <a:pt x="327" y="96"/>
                      <a:pt x="327" y="96"/>
                      <a:pt x="327" y="96"/>
                    </a:cubicBezTo>
                    <a:cubicBezTo>
                      <a:pt x="337" y="106"/>
                      <a:pt x="343" y="120"/>
                      <a:pt x="343" y="134"/>
                    </a:cubicBezTo>
                    <a:cubicBezTo>
                      <a:pt x="343" y="165"/>
                      <a:pt x="319" y="189"/>
                      <a:pt x="289" y="189"/>
                    </a:cubicBezTo>
                    <a:cubicBezTo>
                      <a:pt x="282" y="189"/>
                      <a:pt x="276" y="188"/>
                      <a:pt x="270" y="186"/>
                    </a:cubicBezTo>
                    <a:cubicBezTo>
                      <a:pt x="276" y="201"/>
                      <a:pt x="282" y="217"/>
                      <a:pt x="282" y="217"/>
                    </a:cubicBezTo>
                    <a:cubicBezTo>
                      <a:pt x="287" y="231"/>
                      <a:pt x="290" y="236"/>
                      <a:pt x="291" y="240"/>
                    </a:cubicBezTo>
                    <a:cubicBezTo>
                      <a:pt x="291" y="240"/>
                      <a:pt x="291" y="240"/>
                      <a:pt x="291" y="240"/>
                    </a:cubicBezTo>
                    <a:cubicBezTo>
                      <a:pt x="291" y="241"/>
                      <a:pt x="291" y="242"/>
                      <a:pt x="291" y="242"/>
                    </a:cubicBezTo>
                    <a:cubicBezTo>
                      <a:pt x="292" y="244"/>
                      <a:pt x="293" y="246"/>
                      <a:pt x="293" y="248"/>
                    </a:cubicBezTo>
                    <a:cubicBezTo>
                      <a:pt x="294" y="252"/>
                      <a:pt x="296" y="257"/>
                      <a:pt x="296" y="262"/>
                    </a:cubicBezTo>
                    <a:cubicBezTo>
                      <a:pt x="296" y="292"/>
                      <a:pt x="272" y="317"/>
                      <a:pt x="243" y="317"/>
                    </a:cubicBezTo>
                    <a:lnTo>
                      <a:pt x="123" y="317"/>
                    </a:lnTo>
                    <a:close/>
                    <a:moveTo>
                      <a:pt x="123" y="302"/>
                    </a:moveTo>
                    <a:cubicBezTo>
                      <a:pt x="242" y="302"/>
                      <a:pt x="242" y="302"/>
                      <a:pt x="242" y="302"/>
                    </a:cubicBezTo>
                    <a:cubicBezTo>
                      <a:pt x="263" y="302"/>
                      <a:pt x="280" y="284"/>
                      <a:pt x="280" y="262"/>
                    </a:cubicBezTo>
                    <a:cubicBezTo>
                      <a:pt x="281" y="259"/>
                      <a:pt x="277" y="249"/>
                      <a:pt x="277" y="247"/>
                    </a:cubicBezTo>
                    <a:cubicBezTo>
                      <a:pt x="276" y="246"/>
                      <a:pt x="276" y="245"/>
                      <a:pt x="276" y="245"/>
                    </a:cubicBezTo>
                    <a:cubicBezTo>
                      <a:pt x="276" y="244"/>
                      <a:pt x="276" y="245"/>
                      <a:pt x="276" y="244"/>
                    </a:cubicBezTo>
                    <a:cubicBezTo>
                      <a:pt x="275" y="243"/>
                      <a:pt x="273" y="236"/>
                      <a:pt x="268" y="222"/>
                    </a:cubicBezTo>
                    <a:cubicBezTo>
                      <a:pt x="268" y="222"/>
                      <a:pt x="252" y="182"/>
                      <a:pt x="246" y="168"/>
                    </a:cubicBezTo>
                    <a:cubicBezTo>
                      <a:pt x="245" y="165"/>
                      <a:pt x="246" y="161"/>
                      <a:pt x="249" y="159"/>
                    </a:cubicBezTo>
                    <a:cubicBezTo>
                      <a:pt x="252" y="157"/>
                      <a:pt x="256" y="157"/>
                      <a:pt x="259" y="160"/>
                    </a:cubicBezTo>
                    <a:cubicBezTo>
                      <a:pt x="260" y="161"/>
                      <a:pt x="262" y="163"/>
                      <a:pt x="262" y="163"/>
                    </a:cubicBezTo>
                    <a:cubicBezTo>
                      <a:pt x="270" y="170"/>
                      <a:pt x="279" y="174"/>
                      <a:pt x="289" y="174"/>
                    </a:cubicBezTo>
                    <a:cubicBezTo>
                      <a:pt x="310" y="174"/>
                      <a:pt x="327" y="156"/>
                      <a:pt x="327" y="134"/>
                    </a:cubicBezTo>
                    <a:cubicBezTo>
                      <a:pt x="327" y="124"/>
                      <a:pt x="323" y="114"/>
                      <a:pt x="316" y="107"/>
                    </a:cubicBezTo>
                    <a:cubicBezTo>
                      <a:pt x="316" y="107"/>
                      <a:pt x="316" y="107"/>
                      <a:pt x="316" y="107"/>
                    </a:cubicBezTo>
                    <a:cubicBezTo>
                      <a:pt x="238" y="27"/>
                      <a:pt x="238" y="27"/>
                      <a:pt x="238" y="27"/>
                    </a:cubicBezTo>
                    <a:cubicBezTo>
                      <a:pt x="231" y="19"/>
                      <a:pt x="221" y="15"/>
                      <a:pt x="210" y="15"/>
                    </a:cubicBezTo>
                    <a:cubicBezTo>
                      <a:pt x="132" y="15"/>
                      <a:pt x="132" y="15"/>
                      <a:pt x="132" y="15"/>
                    </a:cubicBezTo>
                    <a:cubicBezTo>
                      <a:pt x="122" y="15"/>
                      <a:pt x="112" y="19"/>
                      <a:pt x="105" y="27"/>
                    </a:cubicBezTo>
                    <a:cubicBezTo>
                      <a:pt x="104" y="27"/>
                      <a:pt x="90" y="41"/>
                      <a:pt x="66" y="66"/>
                    </a:cubicBezTo>
                    <a:cubicBezTo>
                      <a:pt x="28" y="105"/>
                      <a:pt x="28" y="105"/>
                      <a:pt x="28" y="105"/>
                    </a:cubicBezTo>
                    <a:cubicBezTo>
                      <a:pt x="20" y="113"/>
                      <a:pt x="15" y="123"/>
                      <a:pt x="15" y="134"/>
                    </a:cubicBezTo>
                    <a:cubicBezTo>
                      <a:pt x="15" y="156"/>
                      <a:pt x="33" y="174"/>
                      <a:pt x="54" y="174"/>
                    </a:cubicBezTo>
                    <a:cubicBezTo>
                      <a:pt x="64" y="174"/>
                      <a:pt x="73" y="170"/>
                      <a:pt x="80" y="163"/>
                    </a:cubicBezTo>
                    <a:cubicBezTo>
                      <a:pt x="80" y="163"/>
                      <a:pt x="81" y="162"/>
                      <a:pt x="84" y="160"/>
                    </a:cubicBezTo>
                    <a:cubicBezTo>
                      <a:pt x="86" y="157"/>
                      <a:pt x="90" y="157"/>
                      <a:pt x="93" y="159"/>
                    </a:cubicBezTo>
                    <a:cubicBezTo>
                      <a:pt x="96" y="161"/>
                      <a:pt x="98" y="165"/>
                      <a:pt x="96" y="168"/>
                    </a:cubicBezTo>
                    <a:cubicBezTo>
                      <a:pt x="90" y="183"/>
                      <a:pt x="66" y="245"/>
                      <a:pt x="64" y="250"/>
                    </a:cubicBezTo>
                    <a:cubicBezTo>
                      <a:pt x="63" y="254"/>
                      <a:pt x="62" y="258"/>
                      <a:pt x="62" y="262"/>
                    </a:cubicBezTo>
                    <a:cubicBezTo>
                      <a:pt x="62" y="284"/>
                      <a:pt x="80" y="302"/>
                      <a:pt x="101" y="302"/>
                    </a:cubicBezTo>
                    <a:cubicBezTo>
                      <a:pt x="108" y="302"/>
                      <a:pt x="108" y="302"/>
                      <a:pt x="108" y="302"/>
                    </a:cubicBezTo>
                    <a:cubicBezTo>
                      <a:pt x="112" y="302"/>
                      <a:pt x="116" y="302"/>
                      <a:pt x="123" y="302"/>
                    </a:cubicBezTo>
                    <a:close/>
                    <a:moveTo>
                      <a:pt x="291" y="241"/>
                    </a:moveTo>
                    <a:cubicBezTo>
                      <a:pt x="291" y="242"/>
                      <a:pt x="291" y="242"/>
                      <a:pt x="291" y="242"/>
                    </a:cubicBezTo>
                    <a:cubicBezTo>
                      <a:pt x="291" y="242"/>
                      <a:pt x="291" y="242"/>
                      <a:pt x="291" y="241"/>
                    </a:cubicBezTo>
                    <a:close/>
                    <a:moveTo>
                      <a:pt x="286" y="235"/>
                    </a:moveTo>
                    <a:cubicBezTo>
                      <a:pt x="286" y="235"/>
                      <a:pt x="286" y="235"/>
                      <a:pt x="286" y="235"/>
                    </a:cubicBezTo>
                    <a:cubicBezTo>
                      <a:pt x="285" y="235"/>
                      <a:pt x="285" y="235"/>
                      <a:pt x="285" y="235"/>
                    </a:cubicBezTo>
                    <a:lnTo>
                      <a:pt x="286" y="235"/>
                    </a:lnTo>
                    <a:close/>
                    <a:moveTo>
                      <a:pt x="284" y="235"/>
                    </a:moveTo>
                    <a:cubicBezTo>
                      <a:pt x="284" y="235"/>
                      <a:pt x="284" y="235"/>
                      <a:pt x="284" y="235"/>
                    </a:cubicBezTo>
                    <a:close/>
                    <a:moveTo>
                      <a:pt x="284" y="235"/>
                    </a:moveTo>
                    <a:cubicBezTo>
                      <a:pt x="284" y="235"/>
                      <a:pt x="284" y="235"/>
                      <a:pt x="284" y="235"/>
                    </a:cubicBez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52" name="Oval 5331"/>
              <p:cNvSpPr>
                <a:spLocks noChangeArrowheads="1"/>
              </p:cNvSpPr>
              <p:nvPr/>
            </p:nvSpPr>
            <p:spPr bwMode="auto">
              <a:xfrm>
                <a:off x="7314" y="1246"/>
                <a:ext cx="48" cy="49"/>
              </a:xfrm>
              <a:prstGeom prst="ellipse">
                <a:avLst/>
              </a:pr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pPr eaLnBrk="0" hangingPunct="0">
                  <a:lnSpc>
                    <a:spcPct val="90000"/>
                  </a:lnSpc>
                  <a:spcBef>
                    <a:spcPct val="30000"/>
                  </a:spcBef>
                  <a:buClr>
                    <a:schemeClr val="accent1"/>
                  </a:buClr>
                </a:pPr>
                <a:endParaRPr lang="en-US" sz="1800"/>
              </a:p>
            </p:txBody>
          </p:sp>
          <p:sp>
            <p:nvSpPr>
              <p:cNvPr id="53" name="Freeform 5332"/>
              <p:cNvSpPr>
                <a:spLocks/>
              </p:cNvSpPr>
              <p:nvPr/>
            </p:nvSpPr>
            <p:spPr bwMode="auto">
              <a:xfrm>
                <a:off x="7311" y="1243"/>
                <a:ext cx="55" cy="56"/>
              </a:xfrm>
              <a:custGeom>
                <a:avLst/>
                <a:gdLst>
                  <a:gd name="T0" fmla="*/ 0 w 116"/>
                  <a:gd name="T1" fmla="*/ 3 h 119"/>
                  <a:gd name="T2" fmla="*/ 3 w 116"/>
                  <a:gd name="T3" fmla="*/ 0 h 119"/>
                  <a:gd name="T4" fmla="*/ 3 w 116"/>
                  <a:gd name="T5" fmla="*/ 0 h 119"/>
                  <a:gd name="T6" fmla="*/ 3 w 116"/>
                  <a:gd name="T7" fmla="*/ 1 h 119"/>
                  <a:gd name="T8" fmla="*/ 0 w 116"/>
                  <a:gd name="T9" fmla="*/ 3 h 119"/>
                  <a:gd name="T10" fmla="*/ 3 w 116"/>
                  <a:gd name="T11" fmla="*/ 5 h 119"/>
                  <a:gd name="T12" fmla="*/ 5 w 116"/>
                  <a:gd name="T13" fmla="*/ 3 h 119"/>
                  <a:gd name="T14" fmla="*/ 3 w 116"/>
                  <a:gd name="T15" fmla="*/ 1 h 119"/>
                  <a:gd name="T16" fmla="*/ 3 w 116"/>
                  <a:gd name="T17" fmla="*/ 0 h 119"/>
                  <a:gd name="T18" fmla="*/ 6 w 116"/>
                  <a:gd name="T19" fmla="*/ 3 h 119"/>
                  <a:gd name="T20" fmla="*/ 3 w 116"/>
                  <a:gd name="T21" fmla="*/ 6 h 119"/>
                  <a:gd name="T22" fmla="*/ 0 w 116"/>
                  <a:gd name="T23" fmla="*/ 3 h 1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6"/>
                  <a:gd name="T37" fmla="*/ 0 h 119"/>
                  <a:gd name="T38" fmla="*/ 116 w 116"/>
                  <a:gd name="T39" fmla="*/ 119 h 11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6" h="119">
                    <a:moveTo>
                      <a:pt x="0" y="60"/>
                    </a:moveTo>
                    <a:cubicBezTo>
                      <a:pt x="0" y="27"/>
                      <a:pt x="26" y="0"/>
                      <a:pt x="58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8" y="16"/>
                      <a:pt x="58" y="16"/>
                      <a:pt x="58" y="16"/>
                    </a:cubicBezTo>
                    <a:cubicBezTo>
                      <a:pt x="34" y="16"/>
                      <a:pt x="15" y="35"/>
                      <a:pt x="15" y="60"/>
                    </a:cubicBezTo>
                    <a:cubicBezTo>
                      <a:pt x="15" y="84"/>
                      <a:pt x="34" y="103"/>
                      <a:pt x="58" y="103"/>
                    </a:cubicBezTo>
                    <a:cubicBezTo>
                      <a:pt x="81" y="103"/>
                      <a:pt x="101" y="84"/>
                      <a:pt x="101" y="60"/>
                    </a:cubicBezTo>
                    <a:cubicBezTo>
                      <a:pt x="101" y="35"/>
                      <a:pt x="81" y="16"/>
                      <a:pt x="58" y="16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90" y="0"/>
                      <a:pt x="116" y="27"/>
                      <a:pt x="116" y="60"/>
                    </a:cubicBezTo>
                    <a:cubicBezTo>
                      <a:pt x="116" y="92"/>
                      <a:pt x="90" y="119"/>
                      <a:pt x="58" y="119"/>
                    </a:cubicBezTo>
                    <a:cubicBezTo>
                      <a:pt x="26" y="119"/>
                      <a:pt x="0" y="92"/>
                      <a:pt x="0" y="60"/>
                    </a:cubicBez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  <p:sp>
            <p:nvSpPr>
              <p:cNvPr id="56" name="Oval 5333"/>
              <p:cNvSpPr>
                <a:spLocks noChangeArrowheads="1"/>
              </p:cNvSpPr>
              <p:nvPr/>
            </p:nvSpPr>
            <p:spPr bwMode="auto">
              <a:xfrm>
                <a:off x="7252" y="1246"/>
                <a:ext cx="47" cy="49"/>
              </a:xfrm>
              <a:prstGeom prst="ellipse">
                <a:avLst/>
              </a:pr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pPr eaLnBrk="0" hangingPunct="0">
                  <a:lnSpc>
                    <a:spcPct val="90000"/>
                  </a:lnSpc>
                  <a:spcBef>
                    <a:spcPct val="30000"/>
                  </a:spcBef>
                  <a:buClr>
                    <a:schemeClr val="accent1"/>
                  </a:buClr>
                </a:pPr>
                <a:endParaRPr lang="en-US" sz="1800"/>
              </a:p>
            </p:txBody>
          </p:sp>
          <p:sp>
            <p:nvSpPr>
              <p:cNvPr id="63" name="Freeform 5334"/>
              <p:cNvSpPr>
                <a:spLocks/>
              </p:cNvSpPr>
              <p:nvPr/>
            </p:nvSpPr>
            <p:spPr bwMode="auto">
              <a:xfrm>
                <a:off x="7248" y="1243"/>
                <a:ext cx="55" cy="56"/>
              </a:xfrm>
              <a:custGeom>
                <a:avLst/>
                <a:gdLst>
                  <a:gd name="T0" fmla="*/ 0 w 117"/>
                  <a:gd name="T1" fmla="*/ 3 h 119"/>
                  <a:gd name="T2" fmla="*/ 3 w 117"/>
                  <a:gd name="T3" fmla="*/ 0 h 119"/>
                  <a:gd name="T4" fmla="*/ 3 w 117"/>
                  <a:gd name="T5" fmla="*/ 0 h 119"/>
                  <a:gd name="T6" fmla="*/ 3 w 117"/>
                  <a:gd name="T7" fmla="*/ 1 h 119"/>
                  <a:gd name="T8" fmla="*/ 1 w 117"/>
                  <a:gd name="T9" fmla="*/ 3 h 119"/>
                  <a:gd name="T10" fmla="*/ 3 w 117"/>
                  <a:gd name="T11" fmla="*/ 5 h 119"/>
                  <a:gd name="T12" fmla="*/ 5 w 117"/>
                  <a:gd name="T13" fmla="*/ 3 h 119"/>
                  <a:gd name="T14" fmla="*/ 3 w 117"/>
                  <a:gd name="T15" fmla="*/ 1 h 119"/>
                  <a:gd name="T16" fmla="*/ 3 w 117"/>
                  <a:gd name="T17" fmla="*/ 0 h 119"/>
                  <a:gd name="T18" fmla="*/ 6 w 117"/>
                  <a:gd name="T19" fmla="*/ 3 h 119"/>
                  <a:gd name="T20" fmla="*/ 3 w 117"/>
                  <a:gd name="T21" fmla="*/ 6 h 119"/>
                  <a:gd name="T22" fmla="*/ 0 w 117"/>
                  <a:gd name="T23" fmla="*/ 3 h 119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w 117"/>
                  <a:gd name="T37" fmla="*/ 0 h 119"/>
                  <a:gd name="T38" fmla="*/ 117 w 117"/>
                  <a:gd name="T39" fmla="*/ 119 h 119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T36" t="T37" r="T38" b="T39"/>
                <a:pathLst>
                  <a:path w="117" h="119">
                    <a:moveTo>
                      <a:pt x="0" y="60"/>
                    </a:moveTo>
                    <a:cubicBezTo>
                      <a:pt x="0" y="27"/>
                      <a:pt x="26" y="0"/>
                      <a:pt x="58" y="0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58" y="16"/>
                      <a:pt x="58" y="16"/>
                      <a:pt x="58" y="16"/>
                    </a:cubicBezTo>
                    <a:cubicBezTo>
                      <a:pt x="35" y="16"/>
                      <a:pt x="16" y="35"/>
                      <a:pt x="16" y="60"/>
                    </a:cubicBezTo>
                    <a:cubicBezTo>
                      <a:pt x="16" y="84"/>
                      <a:pt x="35" y="103"/>
                      <a:pt x="58" y="103"/>
                    </a:cubicBezTo>
                    <a:cubicBezTo>
                      <a:pt x="82" y="103"/>
                      <a:pt x="101" y="84"/>
                      <a:pt x="101" y="60"/>
                    </a:cubicBezTo>
                    <a:cubicBezTo>
                      <a:pt x="101" y="35"/>
                      <a:pt x="82" y="16"/>
                      <a:pt x="58" y="16"/>
                    </a:cubicBezTo>
                    <a:cubicBezTo>
                      <a:pt x="58" y="0"/>
                      <a:pt x="58" y="0"/>
                      <a:pt x="58" y="0"/>
                    </a:cubicBezTo>
                    <a:cubicBezTo>
                      <a:pt x="91" y="0"/>
                      <a:pt x="117" y="27"/>
                      <a:pt x="117" y="60"/>
                    </a:cubicBezTo>
                    <a:cubicBezTo>
                      <a:pt x="117" y="92"/>
                      <a:pt x="91" y="119"/>
                      <a:pt x="58" y="119"/>
                    </a:cubicBezTo>
                    <a:cubicBezTo>
                      <a:pt x="26" y="119"/>
                      <a:pt x="0" y="92"/>
                      <a:pt x="0" y="60"/>
                    </a:cubicBezTo>
                    <a:close/>
                  </a:path>
                </a:pathLst>
              </a:custGeom>
              <a:solidFill>
                <a:srgbClr val="7F10A2"/>
              </a:solidFill>
              <a:ln w="9525">
                <a:noFill/>
                <a:round/>
                <a:headEnd/>
                <a:tailEnd/>
              </a:ln>
            </p:spPr>
            <p:txBody>
              <a:bodyPr>
                <a:prstTxWarp prst="textNoShape">
                  <a:avLst/>
                </a:prstTxWarp>
              </a:bodyPr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461092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225" name="AutoShape 42"/>
          <p:cNvSpPr>
            <a:spLocks noChangeArrowheads="1"/>
          </p:cNvSpPr>
          <p:nvPr/>
        </p:nvSpPr>
        <p:spPr bwMode="auto">
          <a:xfrm>
            <a:off x="3983038" y="1066838"/>
            <a:ext cx="3448050" cy="4962894"/>
          </a:xfrm>
          <a:prstGeom prst="roundRect">
            <a:avLst>
              <a:gd name="adj" fmla="val 7574"/>
            </a:avLst>
          </a:prstGeom>
          <a:solidFill>
            <a:schemeClr val="bg1"/>
          </a:solidFill>
          <a:ln w="28575">
            <a:solidFill>
              <a:srgbClr val="A3A6AD"/>
            </a:solidFill>
            <a:miter lim="800000"/>
            <a:headEnd/>
            <a:tailEnd/>
          </a:ln>
        </p:spPr>
        <p:txBody>
          <a:bodyPr lIns="91439" tIns="45719" rIns="91439" bIns="45719"/>
          <a:lstStyle/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endParaRPr lang="en-US" sz="1600">
              <a:solidFill>
                <a:srgbClr val="000000"/>
              </a:solidFill>
              <a:cs typeface="ヒラギノ角ゴ Pro W3"/>
            </a:endParaRPr>
          </a:p>
        </p:txBody>
      </p:sp>
      <p:sp>
        <p:nvSpPr>
          <p:cNvPr id="180226" name="Line 90"/>
          <p:cNvSpPr>
            <a:spLocks noChangeShapeType="1"/>
          </p:cNvSpPr>
          <p:nvPr/>
        </p:nvSpPr>
        <p:spPr bwMode="auto">
          <a:xfrm rot="5400000">
            <a:off x="5066664" y="4579841"/>
            <a:ext cx="829949" cy="0"/>
          </a:xfrm>
          <a:prstGeom prst="line">
            <a:avLst/>
          </a:prstGeom>
          <a:noFill/>
          <a:ln w="34925">
            <a:solidFill>
              <a:srgbClr val="FFCC00"/>
            </a:solidFill>
            <a:round/>
            <a:headEnd/>
            <a:tailEnd/>
          </a:ln>
        </p:spPr>
        <p:txBody>
          <a:bodyPr/>
          <a:lstStyle/>
          <a:p>
            <a:endParaRPr lang="de-DE"/>
          </a:p>
        </p:txBody>
      </p:sp>
      <p:sp>
        <p:nvSpPr>
          <p:cNvPr id="180227" name="AutoShape 42"/>
          <p:cNvSpPr>
            <a:spLocks noChangeArrowheads="1"/>
          </p:cNvSpPr>
          <p:nvPr/>
        </p:nvSpPr>
        <p:spPr bwMode="auto">
          <a:xfrm>
            <a:off x="7635875" y="1061798"/>
            <a:ext cx="3448050" cy="4962894"/>
          </a:xfrm>
          <a:prstGeom prst="roundRect">
            <a:avLst>
              <a:gd name="adj" fmla="val 7574"/>
            </a:avLst>
          </a:prstGeom>
          <a:solidFill>
            <a:schemeClr val="bg1"/>
          </a:solidFill>
          <a:ln w="28575">
            <a:solidFill>
              <a:srgbClr val="A3A6AD"/>
            </a:solidFill>
            <a:miter lim="800000"/>
            <a:headEnd/>
            <a:tailEnd/>
          </a:ln>
        </p:spPr>
        <p:txBody>
          <a:bodyPr lIns="91439" tIns="45719" rIns="91439" bIns="45719"/>
          <a:lstStyle/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endParaRPr lang="en-US" sz="1600">
              <a:solidFill>
                <a:srgbClr val="000000"/>
              </a:solidFill>
              <a:cs typeface="ヒラギノ角ゴ Pro W3"/>
            </a:endParaRPr>
          </a:p>
        </p:txBody>
      </p:sp>
      <p:sp>
        <p:nvSpPr>
          <p:cNvPr id="180228" name="Title 5"/>
          <p:cNvSpPr>
            <a:spLocks/>
          </p:cNvSpPr>
          <p:nvPr/>
        </p:nvSpPr>
        <p:spPr bwMode="auto">
          <a:xfrm>
            <a:off x="282575" y="257050"/>
            <a:ext cx="10879138" cy="448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r>
              <a:rPr 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ea typeface="MS PGothic" pitchFamily="34" charset="-128"/>
                <a:cs typeface="ヒラギノ角ゴ Pro W3"/>
              </a:rPr>
              <a:t>Liquid </a:t>
            </a: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MS PGothic" pitchFamily="34" charset="-128"/>
                <a:cs typeface="ヒラギノ角ゴ Pro W3"/>
              </a:rPr>
              <a:t>Radio “functional requirements”</a:t>
            </a:r>
            <a:endParaRPr lang="en-US" sz="2800" b="1" dirty="0">
              <a:solidFill>
                <a:schemeClr val="tx1">
                  <a:lumMod val="50000"/>
                  <a:lumOff val="50000"/>
                </a:schemeClr>
              </a:solidFill>
              <a:ea typeface="MS PGothic" pitchFamily="34" charset="-128"/>
              <a:cs typeface="ヒラギノ角ゴ Pro W3"/>
            </a:endParaRPr>
          </a:p>
        </p:txBody>
      </p:sp>
      <p:sp>
        <p:nvSpPr>
          <p:cNvPr id="180229" name="Rectangle 112"/>
          <p:cNvSpPr>
            <a:spLocks noChangeArrowheads="1"/>
          </p:cNvSpPr>
          <p:nvPr/>
        </p:nvSpPr>
        <p:spPr bwMode="auto">
          <a:xfrm>
            <a:off x="7805739" y="1243244"/>
            <a:ext cx="2827337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nified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Heterogeneous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Networks</a:t>
            </a:r>
          </a:p>
        </p:txBody>
      </p:sp>
      <p:sp>
        <p:nvSpPr>
          <p:cNvPr id="180231" name="Rectangle 110"/>
          <p:cNvSpPr>
            <a:spLocks noChangeArrowheads="1"/>
          </p:cNvSpPr>
          <p:nvPr/>
        </p:nvSpPr>
        <p:spPr bwMode="auto">
          <a:xfrm>
            <a:off x="4144964" y="1229804"/>
            <a:ext cx="151964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600" b="1" dirty="0">
                <a:solidFill>
                  <a:schemeClr val="tx1">
                    <a:lumMod val="50000"/>
                    <a:lumOff val="50000"/>
                  </a:schemeClr>
                </a:solidFill>
                <a:cs typeface="ヒラギノ角ゴ Pro W3"/>
              </a:rPr>
              <a:t>Baseband pooling</a:t>
            </a:r>
          </a:p>
        </p:txBody>
      </p:sp>
      <p:sp>
        <p:nvSpPr>
          <p:cNvPr id="180232" name="Rectangle 124"/>
          <p:cNvSpPr>
            <a:spLocks noChangeArrowheads="1"/>
          </p:cNvSpPr>
          <p:nvPr/>
        </p:nvSpPr>
        <p:spPr bwMode="auto">
          <a:xfrm>
            <a:off x="4725988" y="2306722"/>
            <a:ext cx="7742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  <a:cs typeface="ヒラギノ角ゴ Pro W3"/>
              </a:rPr>
              <a:t>Small Cells</a:t>
            </a:r>
          </a:p>
        </p:txBody>
      </p:sp>
      <p:sp>
        <p:nvSpPr>
          <p:cNvPr id="180233" name="Rectangle 128"/>
          <p:cNvSpPr>
            <a:spLocks noChangeArrowheads="1"/>
          </p:cNvSpPr>
          <p:nvPr/>
        </p:nvSpPr>
        <p:spPr bwMode="auto">
          <a:xfrm>
            <a:off x="4921251" y="5609717"/>
            <a:ext cx="108042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  <a:cs typeface="ヒラギノ角ゴ Pro W3"/>
              </a:rPr>
              <a:t>Baseband pool</a:t>
            </a:r>
          </a:p>
        </p:txBody>
      </p:sp>
      <p:sp>
        <p:nvSpPr>
          <p:cNvPr id="180234" name="Donut 24"/>
          <p:cNvSpPr>
            <a:spLocks/>
          </p:cNvSpPr>
          <p:nvPr/>
        </p:nvSpPr>
        <p:spPr bwMode="auto">
          <a:xfrm>
            <a:off x="4311651" y="1743902"/>
            <a:ext cx="2333625" cy="2469686"/>
          </a:xfrm>
          <a:custGeom>
            <a:avLst/>
            <a:gdLst>
              <a:gd name="T0" fmla="*/ 0 w 2333625"/>
              <a:gd name="T1" fmla="*/ 1166814 h 2333625"/>
              <a:gd name="T2" fmla="*/ 1166814 w 2333625"/>
              <a:gd name="T3" fmla="*/ 0 h 2333625"/>
              <a:gd name="T4" fmla="*/ 2333627 w 2333625"/>
              <a:gd name="T5" fmla="*/ 1166814 h 2333625"/>
              <a:gd name="T6" fmla="*/ 1166814 w 2333625"/>
              <a:gd name="T7" fmla="*/ 2333627 h 2333625"/>
              <a:gd name="T8" fmla="*/ 0 w 2333625"/>
              <a:gd name="T9" fmla="*/ 1166814 h 2333625"/>
              <a:gd name="T10" fmla="*/ 64665 w 2333625"/>
              <a:gd name="T11" fmla="*/ 1166814 h 2333625"/>
              <a:gd name="T12" fmla="*/ 1166814 w 2333625"/>
              <a:gd name="T13" fmla="*/ 2268961 h 2333625"/>
              <a:gd name="T14" fmla="*/ 2268961 w 2333625"/>
              <a:gd name="T15" fmla="*/ 1166814 h 2333625"/>
              <a:gd name="T16" fmla="*/ 1166814 w 2333625"/>
              <a:gd name="T17" fmla="*/ 64665 h 2333625"/>
              <a:gd name="T18" fmla="*/ 64665 w 2333625"/>
              <a:gd name="T19" fmla="*/ 1166814 h 23336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333625"/>
              <a:gd name="T31" fmla="*/ 0 h 2333625"/>
              <a:gd name="T32" fmla="*/ 2333625 w 2333625"/>
              <a:gd name="T33" fmla="*/ 2333625 h 233362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333625" h="2333625">
                <a:moveTo>
                  <a:pt x="0" y="1166813"/>
                </a:moveTo>
                <a:cubicBezTo>
                  <a:pt x="0" y="522400"/>
                  <a:pt x="522400" y="0"/>
                  <a:pt x="1166813" y="0"/>
                </a:cubicBezTo>
                <a:cubicBezTo>
                  <a:pt x="1811226" y="0"/>
                  <a:pt x="2333626" y="522400"/>
                  <a:pt x="2333626" y="1166813"/>
                </a:cubicBezTo>
                <a:cubicBezTo>
                  <a:pt x="2333626" y="1811226"/>
                  <a:pt x="1811226" y="2333626"/>
                  <a:pt x="1166813" y="2333626"/>
                </a:cubicBezTo>
                <a:cubicBezTo>
                  <a:pt x="522400" y="2333626"/>
                  <a:pt x="0" y="1811226"/>
                  <a:pt x="0" y="1166813"/>
                </a:cubicBezTo>
                <a:close/>
                <a:moveTo>
                  <a:pt x="64665" y="1166813"/>
                </a:moveTo>
                <a:cubicBezTo>
                  <a:pt x="64665" y="1775513"/>
                  <a:pt x="558113" y="2268961"/>
                  <a:pt x="1166813" y="2268961"/>
                </a:cubicBezTo>
                <a:cubicBezTo>
                  <a:pt x="1775513" y="2268961"/>
                  <a:pt x="2268961" y="1775513"/>
                  <a:pt x="2268961" y="1166813"/>
                </a:cubicBezTo>
                <a:cubicBezTo>
                  <a:pt x="2268961" y="558113"/>
                  <a:pt x="1775513" y="64665"/>
                  <a:pt x="1166813" y="64665"/>
                </a:cubicBezTo>
                <a:cubicBezTo>
                  <a:pt x="558113" y="64665"/>
                  <a:pt x="64665" y="558113"/>
                  <a:pt x="64665" y="1166813"/>
                </a:cubicBezTo>
                <a:close/>
              </a:path>
            </a:pathLst>
          </a:custGeom>
          <a:gradFill rotWithShape="0">
            <a:gsLst>
              <a:gs pos="0">
                <a:srgbClr val="FF8200"/>
              </a:gs>
              <a:gs pos="50000">
                <a:srgbClr val="FFCC00"/>
              </a:gs>
              <a:gs pos="100000">
                <a:srgbClr val="FF8200"/>
              </a:gs>
            </a:gsLst>
            <a:lin ang="18900000" scaled="1"/>
          </a:gradFill>
          <a:ln w="9525">
            <a:noFill/>
            <a:round/>
            <a:headEnd/>
            <a:tailEnd/>
          </a:ln>
        </p:spPr>
        <p:txBody>
          <a:bodyPr lIns="90000" tIns="46800" rIns="90000" bIns="46800" anchor="ctr"/>
          <a:lstStyle/>
          <a:p>
            <a:endParaRPr lang="de-DE"/>
          </a:p>
        </p:txBody>
      </p:sp>
      <p:sp>
        <p:nvSpPr>
          <p:cNvPr id="180236" name="Rectangle 124"/>
          <p:cNvSpPr>
            <a:spLocks noChangeArrowheads="1"/>
          </p:cNvSpPr>
          <p:nvPr/>
        </p:nvSpPr>
        <p:spPr bwMode="auto">
          <a:xfrm>
            <a:off x="5328396" y="3159711"/>
            <a:ext cx="8499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400" dirty="0">
                <a:solidFill>
                  <a:schemeClr val="tx1">
                    <a:lumMod val="50000"/>
                    <a:lumOff val="50000"/>
                  </a:schemeClr>
                </a:solidFill>
                <a:cs typeface="ヒラギノ角ゴ Pro W3"/>
              </a:rPr>
              <a:t>Macro Cells</a:t>
            </a:r>
          </a:p>
        </p:txBody>
      </p:sp>
      <p:sp>
        <p:nvSpPr>
          <p:cNvPr id="180237" name="AutoShape 42"/>
          <p:cNvSpPr>
            <a:spLocks noChangeArrowheads="1"/>
          </p:cNvSpPr>
          <p:nvPr/>
        </p:nvSpPr>
        <p:spPr bwMode="auto">
          <a:xfrm>
            <a:off x="328613" y="1061798"/>
            <a:ext cx="3448050" cy="4962894"/>
          </a:xfrm>
          <a:prstGeom prst="roundRect">
            <a:avLst>
              <a:gd name="adj" fmla="val 7574"/>
            </a:avLst>
          </a:prstGeom>
          <a:solidFill>
            <a:schemeClr val="bg1"/>
          </a:solidFill>
          <a:ln w="28575">
            <a:solidFill>
              <a:srgbClr val="A3A6AD"/>
            </a:solidFill>
            <a:miter lim="800000"/>
            <a:headEnd/>
            <a:tailEnd/>
          </a:ln>
        </p:spPr>
        <p:txBody>
          <a:bodyPr lIns="91439" tIns="45719" rIns="91439" bIns="45719"/>
          <a:lstStyle/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endParaRPr lang="en-US" sz="1600">
              <a:solidFill>
                <a:schemeClr val="bg2"/>
              </a:solidFill>
              <a:cs typeface="ヒラギノ角ゴ Pro W3"/>
            </a:endParaRPr>
          </a:p>
        </p:txBody>
      </p:sp>
      <p:sp>
        <p:nvSpPr>
          <p:cNvPr id="180238" name="Rectangle 111"/>
          <p:cNvSpPr>
            <a:spLocks noChangeArrowheads="1"/>
          </p:cNvSpPr>
          <p:nvPr/>
        </p:nvSpPr>
        <p:spPr bwMode="auto">
          <a:xfrm>
            <a:off x="500064" y="1223083"/>
            <a:ext cx="2039726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GB" sz="1600" b="1" dirty="0">
                <a:solidFill>
                  <a:schemeClr val="tx1">
                    <a:lumMod val="50000"/>
                    <a:lumOff val="50000"/>
                  </a:schemeClr>
                </a:solidFill>
                <a:cs typeface="ヒラギノ角ゴ Pro W3"/>
              </a:rPr>
              <a:t>Single RAN - </a:t>
            </a:r>
          </a:p>
          <a:p>
            <a:r>
              <a:rPr lang="en-GB" sz="1600" b="1" dirty="0">
                <a:solidFill>
                  <a:schemeClr val="tx1">
                    <a:lumMod val="50000"/>
                    <a:lumOff val="50000"/>
                  </a:schemeClr>
                </a:solidFill>
                <a:cs typeface="ヒラギノ角ゴ Pro W3"/>
              </a:rPr>
              <a:t>Active Antenna Systems</a:t>
            </a:r>
          </a:p>
        </p:txBody>
      </p:sp>
      <p:sp>
        <p:nvSpPr>
          <p:cNvPr id="180239" name="Rectangle 124"/>
          <p:cNvSpPr>
            <a:spLocks noChangeArrowheads="1"/>
          </p:cNvSpPr>
          <p:nvPr/>
        </p:nvSpPr>
        <p:spPr bwMode="auto">
          <a:xfrm>
            <a:off x="534989" y="4709205"/>
            <a:ext cx="2879725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marL="0" lvl="1"/>
            <a:r>
              <a:rPr lang="en-US" sz="1600" dirty="0" smtClean="0">
                <a:solidFill>
                  <a:schemeClr val="tx1">
                    <a:lumMod val="75000"/>
                    <a:lumOff val="25000"/>
                  </a:schemeClr>
                </a:solidFill>
                <a:cs typeface="ヒラギノ角ゴ Pro W3"/>
              </a:rPr>
              <a:t>automated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cs typeface="ヒラギノ角ゴ Pro W3"/>
              </a:rPr>
              <a:t>beam forming for dynamic cells based on time of day or demand</a:t>
            </a:r>
          </a:p>
          <a:p>
            <a:endParaRPr lang="en-GB" sz="1400" b="1" dirty="0">
              <a:solidFill>
                <a:schemeClr val="bg2"/>
              </a:solidFill>
              <a:cs typeface="ヒラギノ角ゴ Pro W3"/>
            </a:endParaRPr>
          </a:p>
        </p:txBody>
      </p:sp>
      <p:grpSp>
        <p:nvGrpSpPr>
          <p:cNvPr id="180240" name="Group 1242"/>
          <p:cNvGrpSpPr>
            <a:grpSpLocks/>
          </p:cNvGrpSpPr>
          <p:nvPr/>
        </p:nvGrpSpPr>
        <p:grpSpPr bwMode="auto">
          <a:xfrm>
            <a:off x="4152900" y="1953909"/>
            <a:ext cx="425450" cy="450256"/>
            <a:chOff x="4424" y="0"/>
            <a:chExt cx="268" cy="268"/>
          </a:xfrm>
        </p:grpSpPr>
        <p:sp>
          <p:nvSpPr>
            <p:cNvPr id="180353" name="Freeform 1243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13 w 554"/>
                <a:gd name="T1" fmla="*/ 11 h 554"/>
                <a:gd name="T2" fmla="*/ 12 w 554"/>
                <a:gd name="T3" fmla="*/ 13 h 554"/>
                <a:gd name="T4" fmla="*/ 1 w 554"/>
                <a:gd name="T5" fmla="*/ 13 h 554"/>
                <a:gd name="T6" fmla="*/ 0 w 554"/>
                <a:gd name="T7" fmla="*/ 11 h 554"/>
                <a:gd name="T8" fmla="*/ 0 w 554"/>
                <a:gd name="T9" fmla="*/ 1 h 554"/>
                <a:gd name="T10" fmla="*/ 1 w 554"/>
                <a:gd name="T11" fmla="*/ 0 h 554"/>
                <a:gd name="T12" fmla="*/ 12 w 554"/>
                <a:gd name="T13" fmla="*/ 0 h 554"/>
                <a:gd name="T14" fmla="*/ 13 w 554"/>
                <a:gd name="T15" fmla="*/ 1 h 554"/>
                <a:gd name="T16" fmla="*/ 13 w 554"/>
                <a:gd name="T17" fmla="*/ 11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4" name="Freeform 1244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2 w 567"/>
                <a:gd name="T1" fmla="*/ 13 h 567"/>
                <a:gd name="T2" fmla="*/ 0 w 567"/>
                <a:gd name="T3" fmla="*/ 12 h 567"/>
                <a:gd name="T4" fmla="*/ 0 w 567"/>
                <a:gd name="T5" fmla="*/ 2 h 567"/>
                <a:gd name="T6" fmla="*/ 2 w 567"/>
                <a:gd name="T7" fmla="*/ 0 h 567"/>
                <a:gd name="T8" fmla="*/ 12 w 567"/>
                <a:gd name="T9" fmla="*/ 0 h 567"/>
                <a:gd name="T10" fmla="*/ 13 w 567"/>
                <a:gd name="T11" fmla="*/ 1 h 567"/>
                <a:gd name="T12" fmla="*/ 13 w 567"/>
                <a:gd name="T13" fmla="*/ 1 h 567"/>
                <a:gd name="T14" fmla="*/ 13 w 567"/>
                <a:gd name="T15" fmla="*/ 12 h 567"/>
                <a:gd name="T16" fmla="*/ 12 w 567"/>
                <a:gd name="T17" fmla="*/ 13 h 567"/>
                <a:gd name="T18" fmla="*/ 2 w 567"/>
                <a:gd name="T19" fmla="*/ 13 h 567"/>
                <a:gd name="T20" fmla="*/ 0 w 567"/>
                <a:gd name="T21" fmla="*/ 2 h 567"/>
                <a:gd name="T22" fmla="*/ 0 w 567"/>
                <a:gd name="T23" fmla="*/ 12 h 567"/>
                <a:gd name="T24" fmla="*/ 2 w 567"/>
                <a:gd name="T25" fmla="*/ 13 h 567"/>
                <a:gd name="T26" fmla="*/ 12 w 567"/>
                <a:gd name="T27" fmla="*/ 13 h 567"/>
                <a:gd name="T28" fmla="*/ 13 w 567"/>
                <a:gd name="T29" fmla="*/ 12 h 567"/>
                <a:gd name="T30" fmla="*/ 13 w 567"/>
                <a:gd name="T31" fmla="*/ 2 h 567"/>
                <a:gd name="T32" fmla="*/ 13 w 567"/>
                <a:gd name="T33" fmla="*/ 2 h 567"/>
                <a:gd name="T34" fmla="*/ 12 w 567"/>
                <a:gd name="T35" fmla="*/ 0 h 567"/>
                <a:gd name="T36" fmla="*/ 2 w 567"/>
                <a:gd name="T37" fmla="*/ 0 h 567"/>
                <a:gd name="T38" fmla="*/ 0 w 567"/>
                <a:gd name="T39" fmla="*/ 2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5" name="Freeform 1245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3 h 122"/>
                <a:gd name="T4" fmla="*/ 0 w 36"/>
                <a:gd name="T5" fmla="*/ 1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1 w 36"/>
                <a:gd name="T13" fmla="*/ 1 h 122"/>
                <a:gd name="T14" fmla="*/ 0 w 36"/>
                <a:gd name="T15" fmla="*/ 3 h 122"/>
                <a:gd name="T16" fmla="*/ 0 w 36"/>
                <a:gd name="T17" fmla="*/ 3 h 122"/>
                <a:gd name="T18" fmla="*/ 0 w 36"/>
                <a:gd name="T19" fmla="*/ 3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6" name="Freeform 1246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4 h 176"/>
                <a:gd name="T4" fmla="*/ 0 w 47"/>
                <a:gd name="T5" fmla="*/ 2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1 w 47"/>
                <a:gd name="T13" fmla="*/ 2 h 176"/>
                <a:gd name="T14" fmla="*/ 0 w 47"/>
                <a:gd name="T15" fmla="*/ 4 h 176"/>
                <a:gd name="T16" fmla="*/ 0 w 47"/>
                <a:gd name="T17" fmla="*/ 4 h 176"/>
                <a:gd name="T18" fmla="*/ 0 w 47"/>
                <a:gd name="T19" fmla="*/ 4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7" name="Freeform 1247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5 h 231"/>
                <a:gd name="T2" fmla="*/ 0 w 58"/>
                <a:gd name="T3" fmla="*/ 5 h 231"/>
                <a:gd name="T4" fmla="*/ 1 w 58"/>
                <a:gd name="T5" fmla="*/ 3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1 w 58"/>
                <a:gd name="T13" fmla="*/ 3 h 231"/>
                <a:gd name="T14" fmla="*/ 0 w 58"/>
                <a:gd name="T15" fmla="*/ 5 h 231"/>
                <a:gd name="T16" fmla="*/ 0 w 58"/>
                <a:gd name="T17" fmla="*/ 5 h 231"/>
                <a:gd name="T18" fmla="*/ 0 w 58"/>
                <a:gd name="T19" fmla="*/ 5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8" name="Freeform 1248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7 h 285"/>
                <a:gd name="T2" fmla="*/ 0 w 70"/>
                <a:gd name="T3" fmla="*/ 7 h 285"/>
                <a:gd name="T4" fmla="*/ 1 w 70"/>
                <a:gd name="T5" fmla="*/ 3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2 w 70"/>
                <a:gd name="T13" fmla="*/ 3 h 285"/>
                <a:gd name="T14" fmla="*/ 0 w 70"/>
                <a:gd name="T15" fmla="*/ 7 h 285"/>
                <a:gd name="T16" fmla="*/ 0 w 70"/>
                <a:gd name="T17" fmla="*/ 7 h 285"/>
                <a:gd name="T18" fmla="*/ 0 w 70"/>
                <a:gd name="T19" fmla="*/ 7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9" name="Oval 1249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360" name="Freeform 1250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1 h 85"/>
                <a:gd name="T8" fmla="*/ 0 w 43"/>
                <a:gd name="T9" fmla="*/ 2 h 85"/>
                <a:gd name="T10" fmla="*/ 0 w 43"/>
                <a:gd name="T11" fmla="*/ 2 h 85"/>
                <a:gd name="T12" fmla="*/ 1 w 43"/>
                <a:gd name="T13" fmla="*/ 1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61" name="Oval 1251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362" name="Freeform 1252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1 w 42"/>
                <a:gd name="T3" fmla="*/ 0 h 85"/>
                <a:gd name="T4" fmla="*/ 1 w 42"/>
                <a:gd name="T5" fmla="*/ 0 h 85"/>
                <a:gd name="T6" fmla="*/ 0 w 42"/>
                <a:gd name="T7" fmla="*/ 1 h 85"/>
                <a:gd name="T8" fmla="*/ 1 w 42"/>
                <a:gd name="T9" fmla="*/ 2 h 85"/>
                <a:gd name="T10" fmla="*/ 0 w 42"/>
                <a:gd name="T11" fmla="*/ 2 h 85"/>
                <a:gd name="T12" fmla="*/ 0 w 42"/>
                <a:gd name="T13" fmla="*/ 1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63" name="Freeform 1253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1 h 122"/>
                <a:gd name="T4" fmla="*/ 0 w 36"/>
                <a:gd name="T5" fmla="*/ 0 h 122"/>
                <a:gd name="T6" fmla="*/ 1 w 36"/>
                <a:gd name="T7" fmla="*/ 0 h 122"/>
                <a:gd name="T8" fmla="*/ 1 w 36"/>
                <a:gd name="T9" fmla="*/ 0 h 122"/>
                <a:gd name="T10" fmla="*/ 0 w 36"/>
                <a:gd name="T11" fmla="*/ 1 h 122"/>
                <a:gd name="T12" fmla="*/ 1 w 36"/>
                <a:gd name="T13" fmla="*/ 3 h 122"/>
                <a:gd name="T14" fmla="*/ 1 w 36"/>
                <a:gd name="T15" fmla="*/ 3 h 122"/>
                <a:gd name="T16" fmla="*/ 1 w 36"/>
                <a:gd name="T17" fmla="*/ 3 h 122"/>
                <a:gd name="T18" fmla="*/ 0 w 36"/>
                <a:gd name="T19" fmla="*/ 3 h 122"/>
                <a:gd name="T20" fmla="*/ 0 w 36"/>
                <a:gd name="T21" fmla="*/ 3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64" name="Freeform 1254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2 h 176"/>
                <a:gd name="T4" fmla="*/ 0 w 47"/>
                <a:gd name="T5" fmla="*/ 0 h 176"/>
                <a:gd name="T6" fmla="*/ 0 w 47"/>
                <a:gd name="T7" fmla="*/ 0 h 176"/>
                <a:gd name="T8" fmla="*/ 1 w 47"/>
                <a:gd name="T9" fmla="*/ 0 h 176"/>
                <a:gd name="T10" fmla="*/ 1 w 47"/>
                <a:gd name="T11" fmla="*/ 0 h 176"/>
                <a:gd name="T12" fmla="*/ 0 w 47"/>
                <a:gd name="T13" fmla="*/ 2 h 176"/>
                <a:gd name="T14" fmla="*/ 1 w 47"/>
                <a:gd name="T15" fmla="*/ 4 h 176"/>
                <a:gd name="T16" fmla="*/ 1 w 47"/>
                <a:gd name="T17" fmla="*/ 4 h 176"/>
                <a:gd name="T18" fmla="*/ 1 w 47"/>
                <a:gd name="T19" fmla="*/ 4 h 176"/>
                <a:gd name="T20" fmla="*/ 0 w 47"/>
                <a:gd name="T21" fmla="*/ 4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65" name="Freeform 1255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1 w 59"/>
                <a:gd name="T1" fmla="*/ 5 h 231"/>
                <a:gd name="T2" fmla="*/ 0 w 59"/>
                <a:gd name="T3" fmla="*/ 3 h 231"/>
                <a:gd name="T4" fmla="*/ 1 w 59"/>
                <a:gd name="T5" fmla="*/ 0 h 231"/>
                <a:gd name="T6" fmla="*/ 1 w 59"/>
                <a:gd name="T7" fmla="*/ 0 h 231"/>
                <a:gd name="T8" fmla="*/ 1 w 59"/>
                <a:gd name="T9" fmla="*/ 0 h 231"/>
                <a:gd name="T10" fmla="*/ 0 w 59"/>
                <a:gd name="T11" fmla="*/ 3 h 231"/>
                <a:gd name="T12" fmla="*/ 1 w 59"/>
                <a:gd name="T13" fmla="*/ 5 h 231"/>
                <a:gd name="T14" fmla="*/ 1 w 59"/>
                <a:gd name="T15" fmla="*/ 5 h 231"/>
                <a:gd name="T16" fmla="*/ 1 w 59"/>
                <a:gd name="T17" fmla="*/ 5 h 231"/>
                <a:gd name="T18" fmla="*/ 1 w 59"/>
                <a:gd name="T19" fmla="*/ 5 h 231"/>
                <a:gd name="T20" fmla="*/ 1 w 59"/>
                <a:gd name="T21" fmla="*/ 5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66" name="Freeform 1256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1 w 70"/>
                <a:gd name="T1" fmla="*/ 7 h 285"/>
                <a:gd name="T2" fmla="*/ 0 w 70"/>
                <a:gd name="T3" fmla="*/ 3 h 285"/>
                <a:gd name="T4" fmla="*/ 1 w 70"/>
                <a:gd name="T5" fmla="*/ 0 h 285"/>
                <a:gd name="T6" fmla="*/ 1 w 70"/>
                <a:gd name="T7" fmla="*/ 0 h 285"/>
                <a:gd name="T8" fmla="*/ 1 w 70"/>
                <a:gd name="T9" fmla="*/ 0 h 285"/>
                <a:gd name="T10" fmla="*/ 1 w 70"/>
                <a:gd name="T11" fmla="*/ 0 h 285"/>
                <a:gd name="T12" fmla="*/ 0 w 70"/>
                <a:gd name="T13" fmla="*/ 3 h 285"/>
                <a:gd name="T14" fmla="*/ 1 w 70"/>
                <a:gd name="T15" fmla="*/ 7 h 285"/>
                <a:gd name="T16" fmla="*/ 1 w 70"/>
                <a:gd name="T17" fmla="*/ 7 h 285"/>
                <a:gd name="T18" fmla="*/ 1 w 70"/>
                <a:gd name="T19" fmla="*/ 7 h 285"/>
                <a:gd name="T20" fmla="*/ 1 w 70"/>
                <a:gd name="T21" fmla="*/ 7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67" name="Freeform 1257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1 w 91"/>
                <a:gd name="T1" fmla="*/ 4 h 346"/>
                <a:gd name="T2" fmla="*/ 1 w 91"/>
                <a:gd name="T3" fmla="*/ 0 h 346"/>
                <a:gd name="T4" fmla="*/ 1 w 91"/>
                <a:gd name="T5" fmla="*/ 0 h 346"/>
                <a:gd name="T6" fmla="*/ 1 w 91"/>
                <a:gd name="T7" fmla="*/ 0 h 346"/>
                <a:gd name="T8" fmla="*/ 1 w 91"/>
                <a:gd name="T9" fmla="*/ 4 h 346"/>
                <a:gd name="T10" fmla="*/ 0 w 91"/>
                <a:gd name="T11" fmla="*/ 9 h 346"/>
                <a:gd name="T12" fmla="*/ 0 w 91"/>
                <a:gd name="T13" fmla="*/ 9 h 346"/>
                <a:gd name="T14" fmla="*/ 1 w 91"/>
                <a:gd name="T15" fmla="*/ 6 h 346"/>
                <a:gd name="T16" fmla="*/ 1 w 91"/>
                <a:gd name="T17" fmla="*/ 9 h 346"/>
                <a:gd name="T18" fmla="*/ 1 w 91"/>
                <a:gd name="T19" fmla="*/ 9 h 346"/>
                <a:gd name="T20" fmla="*/ 1 w 91"/>
                <a:gd name="T21" fmla="*/ 6 h 346"/>
                <a:gd name="T22" fmla="*/ 2 w 91"/>
                <a:gd name="T23" fmla="*/ 9 h 346"/>
                <a:gd name="T24" fmla="*/ 2 w 91"/>
                <a:gd name="T25" fmla="*/ 9 h 346"/>
                <a:gd name="T26" fmla="*/ 1 w 91"/>
                <a:gd name="T27" fmla="*/ 4 h 346"/>
                <a:gd name="T28" fmla="*/ 1 w 91"/>
                <a:gd name="T29" fmla="*/ 4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80241" name="Group 1242"/>
          <p:cNvGrpSpPr>
            <a:grpSpLocks/>
          </p:cNvGrpSpPr>
          <p:nvPr/>
        </p:nvGrpSpPr>
        <p:grpSpPr bwMode="auto">
          <a:xfrm>
            <a:off x="4635500" y="1795983"/>
            <a:ext cx="425450" cy="450256"/>
            <a:chOff x="4424" y="0"/>
            <a:chExt cx="268" cy="268"/>
          </a:xfrm>
        </p:grpSpPr>
        <p:sp>
          <p:nvSpPr>
            <p:cNvPr id="180338" name="Freeform 1243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13 w 554"/>
                <a:gd name="T1" fmla="*/ 11 h 554"/>
                <a:gd name="T2" fmla="*/ 12 w 554"/>
                <a:gd name="T3" fmla="*/ 13 h 554"/>
                <a:gd name="T4" fmla="*/ 1 w 554"/>
                <a:gd name="T5" fmla="*/ 13 h 554"/>
                <a:gd name="T6" fmla="*/ 0 w 554"/>
                <a:gd name="T7" fmla="*/ 11 h 554"/>
                <a:gd name="T8" fmla="*/ 0 w 554"/>
                <a:gd name="T9" fmla="*/ 1 h 554"/>
                <a:gd name="T10" fmla="*/ 1 w 554"/>
                <a:gd name="T11" fmla="*/ 0 h 554"/>
                <a:gd name="T12" fmla="*/ 12 w 554"/>
                <a:gd name="T13" fmla="*/ 0 h 554"/>
                <a:gd name="T14" fmla="*/ 13 w 554"/>
                <a:gd name="T15" fmla="*/ 1 h 554"/>
                <a:gd name="T16" fmla="*/ 13 w 554"/>
                <a:gd name="T17" fmla="*/ 11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39" name="Freeform 1244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2 w 567"/>
                <a:gd name="T1" fmla="*/ 13 h 567"/>
                <a:gd name="T2" fmla="*/ 0 w 567"/>
                <a:gd name="T3" fmla="*/ 12 h 567"/>
                <a:gd name="T4" fmla="*/ 0 w 567"/>
                <a:gd name="T5" fmla="*/ 2 h 567"/>
                <a:gd name="T6" fmla="*/ 2 w 567"/>
                <a:gd name="T7" fmla="*/ 0 h 567"/>
                <a:gd name="T8" fmla="*/ 12 w 567"/>
                <a:gd name="T9" fmla="*/ 0 h 567"/>
                <a:gd name="T10" fmla="*/ 13 w 567"/>
                <a:gd name="T11" fmla="*/ 1 h 567"/>
                <a:gd name="T12" fmla="*/ 13 w 567"/>
                <a:gd name="T13" fmla="*/ 1 h 567"/>
                <a:gd name="T14" fmla="*/ 13 w 567"/>
                <a:gd name="T15" fmla="*/ 12 h 567"/>
                <a:gd name="T16" fmla="*/ 12 w 567"/>
                <a:gd name="T17" fmla="*/ 13 h 567"/>
                <a:gd name="T18" fmla="*/ 2 w 567"/>
                <a:gd name="T19" fmla="*/ 13 h 567"/>
                <a:gd name="T20" fmla="*/ 0 w 567"/>
                <a:gd name="T21" fmla="*/ 2 h 567"/>
                <a:gd name="T22" fmla="*/ 0 w 567"/>
                <a:gd name="T23" fmla="*/ 12 h 567"/>
                <a:gd name="T24" fmla="*/ 2 w 567"/>
                <a:gd name="T25" fmla="*/ 13 h 567"/>
                <a:gd name="T26" fmla="*/ 12 w 567"/>
                <a:gd name="T27" fmla="*/ 13 h 567"/>
                <a:gd name="T28" fmla="*/ 13 w 567"/>
                <a:gd name="T29" fmla="*/ 12 h 567"/>
                <a:gd name="T30" fmla="*/ 13 w 567"/>
                <a:gd name="T31" fmla="*/ 2 h 567"/>
                <a:gd name="T32" fmla="*/ 13 w 567"/>
                <a:gd name="T33" fmla="*/ 2 h 567"/>
                <a:gd name="T34" fmla="*/ 12 w 567"/>
                <a:gd name="T35" fmla="*/ 0 h 567"/>
                <a:gd name="T36" fmla="*/ 2 w 567"/>
                <a:gd name="T37" fmla="*/ 0 h 567"/>
                <a:gd name="T38" fmla="*/ 0 w 567"/>
                <a:gd name="T39" fmla="*/ 2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40" name="Freeform 1245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3 h 122"/>
                <a:gd name="T4" fmla="*/ 0 w 36"/>
                <a:gd name="T5" fmla="*/ 1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1 w 36"/>
                <a:gd name="T13" fmla="*/ 1 h 122"/>
                <a:gd name="T14" fmla="*/ 0 w 36"/>
                <a:gd name="T15" fmla="*/ 3 h 122"/>
                <a:gd name="T16" fmla="*/ 0 w 36"/>
                <a:gd name="T17" fmla="*/ 3 h 122"/>
                <a:gd name="T18" fmla="*/ 0 w 36"/>
                <a:gd name="T19" fmla="*/ 3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41" name="Freeform 1246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4 h 176"/>
                <a:gd name="T4" fmla="*/ 0 w 47"/>
                <a:gd name="T5" fmla="*/ 2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1 w 47"/>
                <a:gd name="T13" fmla="*/ 2 h 176"/>
                <a:gd name="T14" fmla="*/ 0 w 47"/>
                <a:gd name="T15" fmla="*/ 4 h 176"/>
                <a:gd name="T16" fmla="*/ 0 w 47"/>
                <a:gd name="T17" fmla="*/ 4 h 176"/>
                <a:gd name="T18" fmla="*/ 0 w 47"/>
                <a:gd name="T19" fmla="*/ 4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42" name="Freeform 1247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5 h 231"/>
                <a:gd name="T2" fmla="*/ 0 w 58"/>
                <a:gd name="T3" fmla="*/ 5 h 231"/>
                <a:gd name="T4" fmla="*/ 1 w 58"/>
                <a:gd name="T5" fmla="*/ 3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1 w 58"/>
                <a:gd name="T13" fmla="*/ 3 h 231"/>
                <a:gd name="T14" fmla="*/ 0 w 58"/>
                <a:gd name="T15" fmla="*/ 5 h 231"/>
                <a:gd name="T16" fmla="*/ 0 w 58"/>
                <a:gd name="T17" fmla="*/ 5 h 231"/>
                <a:gd name="T18" fmla="*/ 0 w 58"/>
                <a:gd name="T19" fmla="*/ 5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43" name="Freeform 1248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7 h 285"/>
                <a:gd name="T2" fmla="*/ 0 w 70"/>
                <a:gd name="T3" fmla="*/ 7 h 285"/>
                <a:gd name="T4" fmla="*/ 1 w 70"/>
                <a:gd name="T5" fmla="*/ 3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2 w 70"/>
                <a:gd name="T13" fmla="*/ 3 h 285"/>
                <a:gd name="T14" fmla="*/ 0 w 70"/>
                <a:gd name="T15" fmla="*/ 7 h 285"/>
                <a:gd name="T16" fmla="*/ 0 w 70"/>
                <a:gd name="T17" fmla="*/ 7 h 285"/>
                <a:gd name="T18" fmla="*/ 0 w 70"/>
                <a:gd name="T19" fmla="*/ 7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44" name="Oval 1249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345" name="Freeform 1250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1 h 85"/>
                <a:gd name="T8" fmla="*/ 0 w 43"/>
                <a:gd name="T9" fmla="*/ 2 h 85"/>
                <a:gd name="T10" fmla="*/ 0 w 43"/>
                <a:gd name="T11" fmla="*/ 2 h 85"/>
                <a:gd name="T12" fmla="*/ 1 w 43"/>
                <a:gd name="T13" fmla="*/ 1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46" name="Oval 1251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347" name="Freeform 1252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1 w 42"/>
                <a:gd name="T3" fmla="*/ 0 h 85"/>
                <a:gd name="T4" fmla="*/ 1 w 42"/>
                <a:gd name="T5" fmla="*/ 0 h 85"/>
                <a:gd name="T6" fmla="*/ 0 w 42"/>
                <a:gd name="T7" fmla="*/ 1 h 85"/>
                <a:gd name="T8" fmla="*/ 1 w 42"/>
                <a:gd name="T9" fmla="*/ 2 h 85"/>
                <a:gd name="T10" fmla="*/ 0 w 42"/>
                <a:gd name="T11" fmla="*/ 2 h 85"/>
                <a:gd name="T12" fmla="*/ 0 w 42"/>
                <a:gd name="T13" fmla="*/ 1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48" name="Freeform 1253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1 h 122"/>
                <a:gd name="T4" fmla="*/ 0 w 36"/>
                <a:gd name="T5" fmla="*/ 0 h 122"/>
                <a:gd name="T6" fmla="*/ 1 w 36"/>
                <a:gd name="T7" fmla="*/ 0 h 122"/>
                <a:gd name="T8" fmla="*/ 1 w 36"/>
                <a:gd name="T9" fmla="*/ 0 h 122"/>
                <a:gd name="T10" fmla="*/ 0 w 36"/>
                <a:gd name="T11" fmla="*/ 1 h 122"/>
                <a:gd name="T12" fmla="*/ 1 w 36"/>
                <a:gd name="T13" fmla="*/ 3 h 122"/>
                <a:gd name="T14" fmla="*/ 1 w 36"/>
                <a:gd name="T15" fmla="*/ 3 h 122"/>
                <a:gd name="T16" fmla="*/ 1 w 36"/>
                <a:gd name="T17" fmla="*/ 3 h 122"/>
                <a:gd name="T18" fmla="*/ 0 w 36"/>
                <a:gd name="T19" fmla="*/ 3 h 122"/>
                <a:gd name="T20" fmla="*/ 0 w 36"/>
                <a:gd name="T21" fmla="*/ 3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49" name="Freeform 1254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2 h 176"/>
                <a:gd name="T4" fmla="*/ 0 w 47"/>
                <a:gd name="T5" fmla="*/ 0 h 176"/>
                <a:gd name="T6" fmla="*/ 0 w 47"/>
                <a:gd name="T7" fmla="*/ 0 h 176"/>
                <a:gd name="T8" fmla="*/ 1 w 47"/>
                <a:gd name="T9" fmla="*/ 0 h 176"/>
                <a:gd name="T10" fmla="*/ 1 w 47"/>
                <a:gd name="T11" fmla="*/ 0 h 176"/>
                <a:gd name="T12" fmla="*/ 0 w 47"/>
                <a:gd name="T13" fmla="*/ 2 h 176"/>
                <a:gd name="T14" fmla="*/ 1 w 47"/>
                <a:gd name="T15" fmla="*/ 4 h 176"/>
                <a:gd name="T16" fmla="*/ 1 w 47"/>
                <a:gd name="T17" fmla="*/ 4 h 176"/>
                <a:gd name="T18" fmla="*/ 1 w 47"/>
                <a:gd name="T19" fmla="*/ 4 h 176"/>
                <a:gd name="T20" fmla="*/ 0 w 47"/>
                <a:gd name="T21" fmla="*/ 4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0" name="Freeform 1255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1 w 59"/>
                <a:gd name="T1" fmla="*/ 5 h 231"/>
                <a:gd name="T2" fmla="*/ 0 w 59"/>
                <a:gd name="T3" fmla="*/ 3 h 231"/>
                <a:gd name="T4" fmla="*/ 1 w 59"/>
                <a:gd name="T5" fmla="*/ 0 h 231"/>
                <a:gd name="T6" fmla="*/ 1 w 59"/>
                <a:gd name="T7" fmla="*/ 0 h 231"/>
                <a:gd name="T8" fmla="*/ 1 w 59"/>
                <a:gd name="T9" fmla="*/ 0 h 231"/>
                <a:gd name="T10" fmla="*/ 0 w 59"/>
                <a:gd name="T11" fmla="*/ 3 h 231"/>
                <a:gd name="T12" fmla="*/ 1 w 59"/>
                <a:gd name="T13" fmla="*/ 5 h 231"/>
                <a:gd name="T14" fmla="*/ 1 w 59"/>
                <a:gd name="T15" fmla="*/ 5 h 231"/>
                <a:gd name="T16" fmla="*/ 1 w 59"/>
                <a:gd name="T17" fmla="*/ 5 h 231"/>
                <a:gd name="T18" fmla="*/ 1 w 59"/>
                <a:gd name="T19" fmla="*/ 5 h 231"/>
                <a:gd name="T20" fmla="*/ 1 w 59"/>
                <a:gd name="T21" fmla="*/ 5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1" name="Freeform 1256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1 w 70"/>
                <a:gd name="T1" fmla="*/ 7 h 285"/>
                <a:gd name="T2" fmla="*/ 0 w 70"/>
                <a:gd name="T3" fmla="*/ 3 h 285"/>
                <a:gd name="T4" fmla="*/ 1 w 70"/>
                <a:gd name="T5" fmla="*/ 0 h 285"/>
                <a:gd name="T6" fmla="*/ 1 w 70"/>
                <a:gd name="T7" fmla="*/ 0 h 285"/>
                <a:gd name="T8" fmla="*/ 1 w 70"/>
                <a:gd name="T9" fmla="*/ 0 h 285"/>
                <a:gd name="T10" fmla="*/ 1 w 70"/>
                <a:gd name="T11" fmla="*/ 0 h 285"/>
                <a:gd name="T12" fmla="*/ 0 w 70"/>
                <a:gd name="T13" fmla="*/ 3 h 285"/>
                <a:gd name="T14" fmla="*/ 1 w 70"/>
                <a:gd name="T15" fmla="*/ 7 h 285"/>
                <a:gd name="T16" fmla="*/ 1 w 70"/>
                <a:gd name="T17" fmla="*/ 7 h 285"/>
                <a:gd name="T18" fmla="*/ 1 w 70"/>
                <a:gd name="T19" fmla="*/ 7 h 285"/>
                <a:gd name="T20" fmla="*/ 1 w 70"/>
                <a:gd name="T21" fmla="*/ 7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52" name="Freeform 1257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1 w 91"/>
                <a:gd name="T1" fmla="*/ 4 h 346"/>
                <a:gd name="T2" fmla="*/ 1 w 91"/>
                <a:gd name="T3" fmla="*/ 0 h 346"/>
                <a:gd name="T4" fmla="*/ 1 w 91"/>
                <a:gd name="T5" fmla="*/ 0 h 346"/>
                <a:gd name="T6" fmla="*/ 1 w 91"/>
                <a:gd name="T7" fmla="*/ 0 h 346"/>
                <a:gd name="T8" fmla="*/ 1 w 91"/>
                <a:gd name="T9" fmla="*/ 4 h 346"/>
                <a:gd name="T10" fmla="*/ 0 w 91"/>
                <a:gd name="T11" fmla="*/ 9 h 346"/>
                <a:gd name="T12" fmla="*/ 0 w 91"/>
                <a:gd name="T13" fmla="*/ 9 h 346"/>
                <a:gd name="T14" fmla="*/ 1 w 91"/>
                <a:gd name="T15" fmla="*/ 6 h 346"/>
                <a:gd name="T16" fmla="*/ 1 w 91"/>
                <a:gd name="T17" fmla="*/ 9 h 346"/>
                <a:gd name="T18" fmla="*/ 1 w 91"/>
                <a:gd name="T19" fmla="*/ 9 h 346"/>
                <a:gd name="T20" fmla="*/ 1 w 91"/>
                <a:gd name="T21" fmla="*/ 6 h 346"/>
                <a:gd name="T22" fmla="*/ 2 w 91"/>
                <a:gd name="T23" fmla="*/ 9 h 346"/>
                <a:gd name="T24" fmla="*/ 2 w 91"/>
                <a:gd name="T25" fmla="*/ 9 h 346"/>
                <a:gd name="T26" fmla="*/ 1 w 91"/>
                <a:gd name="T27" fmla="*/ 4 h 346"/>
                <a:gd name="T28" fmla="*/ 1 w 91"/>
                <a:gd name="T29" fmla="*/ 4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80242" name="Group 1242"/>
          <p:cNvGrpSpPr>
            <a:grpSpLocks/>
          </p:cNvGrpSpPr>
          <p:nvPr/>
        </p:nvGrpSpPr>
        <p:grpSpPr bwMode="auto">
          <a:xfrm>
            <a:off x="4243388" y="2452886"/>
            <a:ext cx="425450" cy="450256"/>
            <a:chOff x="4424" y="0"/>
            <a:chExt cx="268" cy="268"/>
          </a:xfrm>
        </p:grpSpPr>
        <p:sp>
          <p:nvSpPr>
            <p:cNvPr id="180323" name="Freeform 1243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13 w 554"/>
                <a:gd name="T1" fmla="*/ 11 h 554"/>
                <a:gd name="T2" fmla="*/ 12 w 554"/>
                <a:gd name="T3" fmla="*/ 13 h 554"/>
                <a:gd name="T4" fmla="*/ 1 w 554"/>
                <a:gd name="T5" fmla="*/ 13 h 554"/>
                <a:gd name="T6" fmla="*/ 0 w 554"/>
                <a:gd name="T7" fmla="*/ 11 h 554"/>
                <a:gd name="T8" fmla="*/ 0 w 554"/>
                <a:gd name="T9" fmla="*/ 1 h 554"/>
                <a:gd name="T10" fmla="*/ 1 w 554"/>
                <a:gd name="T11" fmla="*/ 0 h 554"/>
                <a:gd name="T12" fmla="*/ 12 w 554"/>
                <a:gd name="T13" fmla="*/ 0 h 554"/>
                <a:gd name="T14" fmla="*/ 13 w 554"/>
                <a:gd name="T15" fmla="*/ 1 h 554"/>
                <a:gd name="T16" fmla="*/ 13 w 554"/>
                <a:gd name="T17" fmla="*/ 11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4" name="Freeform 1244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2 w 567"/>
                <a:gd name="T1" fmla="*/ 13 h 567"/>
                <a:gd name="T2" fmla="*/ 0 w 567"/>
                <a:gd name="T3" fmla="*/ 12 h 567"/>
                <a:gd name="T4" fmla="*/ 0 w 567"/>
                <a:gd name="T5" fmla="*/ 2 h 567"/>
                <a:gd name="T6" fmla="*/ 2 w 567"/>
                <a:gd name="T7" fmla="*/ 0 h 567"/>
                <a:gd name="T8" fmla="*/ 12 w 567"/>
                <a:gd name="T9" fmla="*/ 0 h 567"/>
                <a:gd name="T10" fmla="*/ 13 w 567"/>
                <a:gd name="T11" fmla="*/ 1 h 567"/>
                <a:gd name="T12" fmla="*/ 13 w 567"/>
                <a:gd name="T13" fmla="*/ 1 h 567"/>
                <a:gd name="T14" fmla="*/ 13 w 567"/>
                <a:gd name="T15" fmla="*/ 12 h 567"/>
                <a:gd name="T16" fmla="*/ 12 w 567"/>
                <a:gd name="T17" fmla="*/ 13 h 567"/>
                <a:gd name="T18" fmla="*/ 2 w 567"/>
                <a:gd name="T19" fmla="*/ 13 h 567"/>
                <a:gd name="T20" fmla="*/ 0 w 567"/>
                <a:gd name="T21" fmla="*/ 2 h 567"/>
                <a:gd name="T22" fmla="*/ 0 w 567"/>
                <a:gd name="T23" fmla="*/ 12 h 567"/>
                <a:gd name="T24" fmla="*/ 2 w 567"/>
                <a:gd name="T25" fmla="*/ 13 h 567"/>
                <a:gd name="T26" fmla="*/ 12 w 567"/>
                <a:gd name="T27" fmla="*/ 13 h 567"/>
                <a:gd name="T28" fmla="*/ 13 w 567"/>
                <a:gd name="T29" fmla="*/ 12 h 567"/>
                <a:gd name="T30" fmla="*/ 13 w 567"/>
                <a:gd name="T31" fmla="*/ 2 h 567"/>
                <a:gd name="T32" fmla="*/ 13 w 567"/>
                <a:gd name="T33" fmla="*/ 2 h 567"/>
                <a:gd name="T34" fmla="*/ 12 w 567"/>
                <a:gd name="T35" fmla="*/ 0 h 567"/>
                <a:gd name="T36" fmla="*/ 2 w 567"/>
                <a:gd name="T37" fmla="*/ 0 h 567"/>
                <a:gd name="T38" fmla="*/ 0 w 567"/>
                <a:gd name="T39" fmla="*/ 2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5" name="Freeform 1245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3 h 122"/>
                <a:gd name="T4" fmla="*/ 0 w 36"/>
                <a:gd name="T5" fmla="*/ 1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1 w 36"/>
                <a:gd name="T13" fmla="*/ 1 h 122"/>
                <a:gd name="T14" fmla="*/ 0 w 36"/>
                <a:gd name="T15" fmla="*/ 3 h 122"/>
                <a:gd name="T16" fmla="*/ 0 w 36"/>
                <a:gd name="T17" fmla="*/ 3 h 122"/>
                <a:gd name="T18" fmla="*/ 0 w 36"/>
                <a:gd name="T19" fmla="*/ 3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6" name="Freeform 1246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4 h 176"/>
                <a:gd name="T4" fmla="*/ 0 w 47"/>
                <a:gd name="T5" fmla="*/ 2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1 w 47"/>
                <a:gd name="T13" fmla="*/ 2 h 176"/>
                <a:gd name="T14" fmla="*/ 0 w 47"/>
                <a:gd name="T15" fmla="*/ 4 h 176"/>
                <a:gd name="T16" fmla="*/ 0 w 47"/>
                <a:gd name="T17" fmla="*/ 4 h 176"/>
                <a:gd name="T18" fmla="*/ 0 w 47"/>
                <a:gd name="T19" fmla="*/ 4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7" name="Freeform 1247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5 h 231"/>
                <a:gd name="T2" fmla="*/ 0 w 58"/>
                <a:gd name="T3" fmla="*/ 5 h 231"/>
                <a:gd name="T4" fmla="*/ 1 w 58"/>
                <a:gd name="T5" fmla="*/ 3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1 w 58"/>
                <a:gd name="T13" fmla="*/ 3 h 231"/>
                <a:gd name="T14" fmla="*/ 0 w 58"/>
                <a:gd name="T15" fmla="*/ 5 h 231"/>
                <a:gd name="T16" fmla="*/ 0 w 58"/>
                <a:gd name="T17" fmla="*/ 5 h 231"/>
                <a:gd name="T18" fmla="*/ 0 w 58"/>
                <a:gd name="T19" fmla="*/ 5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8" name="Freeform 1248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7 h 285"/>
                <a:gd name="T2" fmla="*/ 0 w 70"/>
                <a:gd name="T3" fmla="*/ 7 h 285"/>
                <a:gd name="T4" fmla="*/ 1 w 70"/>
                <a:gd name="T5" fmla="*/ 3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2 w 70"/>
                <a:gd name="T13" fmla="*/ 3 h 285"/>
                <a:gd name="T14" fmla="*/ 0 w 70"/>
                <a:gd name="T15" fmla="*/ 7 h 285"/>
                <a:gd name="T16" fmla="*/ 0 w 70"/>
                <a:gd name="T17" fmla="*/ 7 h 285"/>
                <a:gd name="T18" fmla="*/ 0 w 70"/>
                <a:gd name="T19" fmla="*/ 7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9" name="Oval 1249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330" name="Freeform 1250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1 h 85"/>
                <a:gd name="T8" fmla="*/ 0 w 43"/>
                <a:gd name="T9" fmla="*/ 2 h 85"/>
                <a:gd name="T10" fmla="*/ 0 w 43"/>
                <a:gd name="T11" fmla="*/ 2 h 85"/>
                <a:gd name="T12" fmla="*/ 1 w 43"/>
                <a:gd name="T13" fmla="*/ 1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31" name="Oval 1251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332" name="Freeform 1252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1 w 42"/>
                <a:gd name="T3" fmla="*/ 0 h 85"/>
                <a:gd name="T4" fmla="*/ 1 w 42"/>
                <a:gd name="T5" fmla="*/ 0 h 85"/>
                <a:gd name="T6" fmla="*/ 0 w 42"/>
                <a:gd name="T7" fmla="*/ 1 h 85"/>
                <a:gd name="T8" fmla="*/ 1 w 42"/>
                <a:gd name="T9" fmla="*/ 2 h 85"/>
                <a:gd name="T10" fmla="*/ 0 w 42"/>
                <a:gd name="T11" fmla="*/ 2 h 85"/>
                <a:gd name="T12" fmla="*/ 0 w 42"/>
                <a:gd name="T13" fmla="*/ 1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33" name="Freeform 1253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1 h 122"/>
                <a:gd name="T4" fmla="*/ 0 w 36"/>
                <a:gd name="T5" fmla="*/ 0 h 122"/>
                <a:gd name="T6" fmla="*/ 1 w 36"/>
                <a:gd name="T7" fmla="*/ 0 h 122"/>
                <a:gd name="T8" fmla="*/ 1 w 36"/>
                <a:gd name="T9" fmla="*/ 0 h 122"/>
                <a:gd name="T10" fmla="*/ 0 w 36"/>
                <a:gd name="T11" fmla="*/ 1 h 122"/>
                <a:gd name="T12" fmla="*/ 1 w 36"/>
                <a:gd name="T13" fmla="*/ 3 h 122"/>
                <a:gd name="T14" fmla="*/ 1 w 36"/>
                <a:gd name="T15" fmla="*/ 3 h 122"/>
                <a:gd name="T16" fmla="*/ 1 w 36"/>
                <a:gd name="T17" fmla="*/ 3 h 122"/>
                <a:gd name="T18" fmla="*/ 0 w 36"/>
                <a:gd name="T19" fmla="*/ 3 h 122"/>
                <a:gd name="T20" fmla="*/ 0 w 36"/>
                <a:gd name="T21" fmla="*/ 3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34" name="Freeform 1254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2 h 176"/>
                <a:gd name="T4" fmla="*/ 0 w 47"/>
                <a:gd name="T5" fmla="*/ 0 h 176"/>
                <a:gd name="T6" fmla="*/ 0 w 47"/>
                <a:gd name="T7" fmla="*/ 0 h 176"/>
                <a:gd name="T8" fmla="*/ 1 w 47"/>
                <a:gd name="T9" fmla="*/ 0 h 176"/>
                <a:gd name="T10" fmla="*/ 1 w 47"/>
                <a:gd name="T11" fmla="*/ 0 h 176"/>
                <a:gd name="T12" fmla="*/ 0 w 47"/>
                <a:gd name="T13" fmla="*/ 2 h 176"/>
                <a:gd name="T14" fmla="*/ 1 w 47"/>
                <a:gd name="T15" fmla="*/ 4 h 176"/>
                <a:gd name="T16" fmla="*/ 1 w 47"/>
                <a:gd name="T17" fmla="*/ 4 h 176"/>
                <a:gd name="T18" fmla="*/ 1 w 47"/>
                <a:gd name="T19" fmla="*/ 4 h 176"/>
                <a:gd name="T20" fmla="*/ 0 w 47"/>
                <a:gd name="T21" fmla="*/ 4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35" name="Freeform 1255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1 w 59"/>
                <a:gd name="T1" fmla="*/ 5 h 231"/>
                <a:gd name="T2" fmla="*/ 0 w 59"/>
                <a:gd name="T3" fmla="*/ 3 h 231"/>
                <a:gd name="T4" fmla="*/ 1 w 59"/>
                <a:gd name="T5" fmla="*/ 0 h 231"/>
                <a:gd name="T6" fmla="*/ 1 w 59"/>
                <a:gd name="T7" fmla="*/ 0 h 231"/>
                <a:gd name="T8" fmla="*/ 1 w 59"/>
                <a:gd name="T9" fmla="*/ 0 h 231"/>
                <a:gd name="T10" fmla="*/ 0 w 59"/>
                <a:gd name="T11" fmla="*/ 3 h 231"/>
                <a:gd name="T12" fmla="*/ 1 w 59"/>
                <a:gd name="T13" fmla="*/ 5 h 231"/>
                <a:gd name="T14" fmla="*/ 1 w 59"/>
                <a:gd name="T15" fmla="*/ 5 h 231"/>
                <a:gd name="T16" fmla="*/ 1 w 59"/>
                <a:gd name="T17" fmla="*/ 5 h 231"/>
                <a:gd name="T18" fmla="*/ 1 w 59"/>
                <a:gd name="T19" fmla="*/ 5 h 231"/>
                <a:gd name="T20" fmla="*/ 1 w 59"/>
                <a:gd name="T21" fmla="*/ 5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36" name="Freeform 1256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1 w 70"/>
                <a:gd name="T1" fmla="*/ 7 h 285"/>
                <a:gd name="T2" fmla="*/ 0 w 70"/>
                <a:gd name="T3" fmla="*/ 3 h 285"/>
                <a:gd name="T4" fmla="*/ 1 w 70"/>
                <a:gd name="T5" fmla="*/ 0 h 285"/>
                <a:gd name="T6" fmla="*/ 1 w 70"/>
                <a:gd name="T7" fmla="*/ 0 h 285"/>
                <a:gd name="T8" fmla="*/ 1 w 70"/>
                <a:gd name="T9" fmla="*/ 0 h 285"/>
                <a:gd name="T10" fmla="*/ 1 w 70"/>
                <a:gd name="T11" fmla="*/ 0 h 285"/>
                <a:gd name="T12" fmla="*/ 0 w 70"/>
                <a:gd name="T13" fmla="*/ 3 h 285"/>
                <a:gd name="T14" fmla="*/ 1 w 70"/>
                <a:gd name="T15" fmla="*/ 7 h 285"/>
                <a:gd name="T16" fmla="*/ 1 w 70"/>
                <a:gd name="T17" fmla="*/ 7 h 285"/>
                <a:gd name="T18" fmla="*/ 1 w 70"/>
                <a:gd name="T19" fmla="*/ 7 h 285"/>
                <a:gd name="T20" fmla="*/ 1 w 70"/>
                <a:gd name="T21" fmla="*/ 7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37" name="Freeform 1257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1 w 91"/>
                <a:gd name="T1" fmla="*/ 4 h 346"/>
                <a:gd name="T2" fmla="*/ 1 w 91"/>
                <a:gd name="T3" fmla="*/ 0 h 346"/>
                <a:gd name="T4" fmla="*/ 1 w 91"/>
                <a:gd name="T5" fmla="*/ 0 h 346"/>
                <a:gd name="T6" fmla="*/ 1 w 91"/>
                <a:gd name="T7" fmla="*/ 0 h 346"/>
                <a:gd name="T8" fmla="*/ 1 w 91"/>
                <a:gd name="T9" fmla="*/ 4 h 346"/>
                <a:gd name="T10" fmla="*/ 0 w 91"/>
                <a:gd name="T11" fmla="*/ 9 h 346"/>
                <a:gd name="T12" fmla="*/ 0 w 91"/>
                <a:gd name="T13" fmla="*/ 9 h 346"/>
                <a:gd name="T14" fmla="*/ 1 w 91"/>
                <a:gd name="T15" fmla="*/ 6 h 346"/>
                <a:gd name="T16" fmla="*/ 1 w 91"/>
                <a:gd name="T17" fmla="*/ 9 h 346"/>
                <a:gd name="T18" fmla="*/ 1 w 91"/>
                <a:gd name="T19" fmla="*/ 9 h 346"/>
                <a:gd name="T20" fmla="*/ 1 w 91"/>
                <a:gd name="T21" fmla="*/ 6 h 346"/>
                <a:gd name="T22" fmla="*/ 2 w 91"/>
                <a:gd name="T23" fmla="*/ 9 h 346"/>
                <a:gd name="T24" fmla="*/ 2 w 91"/>
                <a:gd name="T25" fmla="*/ 9 h 346"/>
                <a:gd name="T26" fmla="*/ 1 w 91"/>
                <a:gd name="T27" fmla="*/ 4 h 346"/>
                <a:gd name="T28" fmla="*/ 1 w 91"/>
                <a:gd name="T29" fmla="*/ 4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80243" name="Group 1242"/>
          <p:cNvGrpSpPr>
            <a:grpSpLocks/>
          </p:cNvGrpSpPr>
          <p:nvPr/>
        </p:nvGrpSpPr>
        <p:grpSpPr bwMode="auto">
          <a:xfrm>
            <a:off x="4148138" y="3420600"/>
            <a:ext cx="755650" cy="799708"/>
            <a:chOff x="4424" y="0"/>
            <a:chExt cx="268" cy="268"/>
          </a:xfrm>
        </p:grpSpPr>
        <p:sp>
          <p:nvSpPr>
            <p:cNvPr id="180308" name="Freeform 1243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13 w 554"/>
                <a:gd name="T1" fmla="*/ 11 h 554"/>
                <a:gd name="T2" fmla="*/ 12 w 554"/>
                <a:gd name="T3" fmla="*/ 13 h 554"/>
                <a:gd name="T4" fmla="*/ 1 w 554"/>
                <a:gd name="T5" fmla="*/ 13 h 554"/>
                <a:gd name="T6" fmla="*/ 0 w 554"/>
                <a:gd name="T7" fmla="*/ 11 h 554"/>
                <a:gd name="T8" fmla="*/ 0 w 554"/>
                <a:gd name="T9" fmla="*/ 1 h 554"/>
                <a:gd name="T10" fmla="*/ 1 w 554"/>
                <a:gd name="T11" fmla="*/ 0 h 554"/>
                <a:gd name="T12" fmla="*/ 12 w 554"/>
                <a:gd name="T13" fmla="*/ 0 h 554"/>
                <a:gd name="T14" fmla="*/ 13 w 554"/>
                <a:gd name="T15" fmla="*/ 1 h 554"/>
                <a:gd name="T16" fmla="*/ 13 w 554"/>
                <a:gd name="T17" fmla="*/ 11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09" name="Freeform 1244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2 w 567"/>
                <a:gd name="T1" fmla="*/ 13 h 567"/>
                <a:gd name="T2" fmla="*/ 0 w 567"/>
                <a:gd name="T3" fmla="*/ 12 h 567"/>
                <a:gd name="T4" fmla="*/ 0 w 567"/>
                <a:gd name="T5" fmla="*/ 2 h 567"/>
                <a:gd name="T6" fmla="*/ 2 w 567"/>
                <a:gd name="T7" fmla="*/ 0 h 567"/>
                <a:gd name="T8" fmla="*/ 12 w 567"/>
                <a:gd name="T9" fmla="*/ 0 h 567"/>
                <a:gd name="T10" fmla="*/ 13 w 567"/>
                <a:gd name="T11" fmla="*/ 1 h 567"/>
                <a:gd name="T12" fmla="*/ 13 w 567"/>
                <a:gd name="T13" fmla="*/ 1 h 567"/>
                <a:gd name="T14" fmla="*/ 13 w 567"/>
                <a:gd name="T15" fmla="*/ 12 h 567"/>
                <a:gd name="T16" fmla="*/ 12 w 567"/>
                <a:gd name="T17" fmla="*/ 13 h 567"/>
                <a:gd name="T18" fmla="*/ 2 w 567"/>
                <a:gd name="T19" fmla="*/ 13 h 567"/>
                <a:gd name="T20" fmla="*/ 0 w 567"/>
                <a:gd name="T21" fmla="*/ 2 h 567"/>
                <a:gd name="T22" fmla="*/ 0 w 567"/>
                <a:gd name="T23" fmla="*/ 12 h 567"/>
                <a:gd name="T24" fmla="*/ 2 w 567"/>
                <a:gd name="T25" fmla="*/ 13 h 567"/>
                <a:gd name="T26" fmla="*/ 12 w 567"/>
                <a:gd name="T27" fmla="*/ 13 h 567"/>
                <a:gd name="T28" fmla="*/ 13 w 567"/>
                <a:gd name="T29" fmla="*/ 12 h 567"/>
                <a:gd name="T30" fmla="*/ 13 w 567"/>
                <a:gd name="T31" fmla="*/ 2 h 567"/>
                <a:gd name="T32" fmla="*/ 13 w 567"/>
                <a:gd name="T33" fmla="*/ 2 h 567"/>
                <a:gd name="T34" fmla="*/ 12 w 567"/>
                <a:gd name="T35" fmla="*/ 0 h 567"/>
                <a:gd name="T36" fmla="*/ 2 w 567"/>
                <a:gd name="T37" fmla="*/ 0 h 567"/>
                <a:gd name="T38" fmla="*/ 0 w 567"/>
                <a:gd name="T39" fmla="*/ 2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10" name="Freeform 1245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3 h 122"/>
                <a:gd name="T4" fmla="*/ 0 w 36"/>
                <a:gd name="T5" fmla="*/ 1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1 w 36"/>
                <a:gd name="T13" fmla="*/ 1 h 122"/>
                <a:gd name="T14" fmla="*/ 0 w 36"/>
                <a:gd name="T15" fmla="*/ 3 h 122"/>
                <a:gd name="T16" fmla="*/ 0 w 36"/>
                <a:gd name="T17" fmla="*/ 3 h 122"/>
                <a:gd name="T18" fmla="*/ 0 w 36"/>
                <a:gd name="T19" fmla="*/ 3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11" name="Freeform 1246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4 h 176"/>
                <a:gd name="T4" fmla="*/ 0 w 47"/>
                <a:gd name="T5" fmla="*/ 2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1 w 47"/>
                <a:gd name="T13" fmla="*/ 2 h 176"/>
                <a:gd name="T14" fmla="*/ 0 w 47"/>
                <a:gd name="T15" fmla="*/ 4 h 176"/>
                <a:gd name="T16" fmla="*/ 0 w 47"/>
                <a:gd name="T17" fmla="*/ 4 h 176"/>
                <a:gd name="T18" fmla="*/ 0 w 47"/>
                <a:gd name="T19" fmla="*/ 4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12" name="Freeform 1247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5 h 231"/>
                <a:gd name="T2" fmla="*/ 0 w 58"/>
                <a:gd name="T3" fmla="*/ 5 h 231"/>
                <a:gd name="T4" fmla="*/ 1 w 58"/>
                <a:gd name="T5" fmla="*/ 3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1 w 58"/>
                <a:gd name="T13" fmla="*/ 3 h 231"/>
                <a:gd name="T14" fmla="*/ 0 w 58"/>
                <a:gd name="T15" fmla="*/ 5 h 231"/>
                <a:gd name="T16" fmla="*/ 0 w 58"/>
                <a:gd name="T17" fmla="*/ 5 h 231"/>
                <a:gd name="T18" fmla="*/ 0 w 58"/>
                <a:gd name="T19" fmla="*/ 5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13" name="Freeform 1248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7 h 285"/>
                <a:gd name="T2" fmla="*/ 0 w 70"/>
                <a:gd name="T3" fmla="*/ 7 h 285"/>
                <a:gd name="T4" fmla="*/ 1 w 70"/>
                <a:gd name="T5" fmla="*/ 3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2 w 70"/>
                <a:gd name="T13" fmla="*/ 3 h 285"/>
                <a:gd name="T14" fmla="*/ 0 w 70"/>
                <a:gd name="T15" fmla="*/ 7 h 285"/>
                <a:gd name="T16" fmla="*/ 0 w 70"/>
                <a:gd name="T17" fmla="*/ 7 h 285"/>
                <a:gd name="T18" fmla="*/ 0 w 70"/>
                <a:gd name="T19" fmla="*/ 7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14" name="Oval 1249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315" name="Freeform 1250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1 h 85"/>
                <a:gd name="T8" fmla="*/ 0 w 43"/>
                <a:gd name="T9" fmla="*/ 2 h 85"/>
                <a:gd name="T10" fmla="*/ 0 w 43"/>
                <a:gd name="T11" fmla="*/ 2 h 85"/>
                <a:gd name="T12" fmla="*/ 1 w 43"/>
                <a:gd name="T13" fmla="*/ 1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16" name="Oval 1251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317" name="Freeform 1252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1 w 42"/>
                <a:gd name="T3" fmla="*/ 0 h 85"/>
                <a:gd name="T4" fmla="*/ 1 w 42"/>
                <a:gd name="T5" fmla="*/ 0 h 85"/>
                <a:gd name="T6" fmla="*/ 0 w 42"/>
                <a:gd name="T7" fmla="*/ 1 h 85"/>
                <a:gd name="T8" fmla="*/ 1 w 42"/>
                <a:gd name="T9" fmla="*/ 2 h 85"/>
                <a:gd name="T10" fmla="*/ 0 w 42"/>
                <a:gd name="T11" fmla="*/ 2 h 85"/>
                <a:gd name="T12" fmla="*/ 0 w 42"/>
                <a:gd name="T13" fmla="*/ 1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18" name="Freeform 1253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1 h 122"/>
                <a:gd name="T4" fmla="*/ 0 w 36"/>
                <a:gd name="T5" fmla="*/ 0 h 122"/>
                <a:gd name="T6" fmla="*/ 1 w 36"/>
                <a:gd name="T7" fmla="*/ 0 h 122"/>
                <a:gd name="T8" fmla="*/ 1 w 36"/>
                <a:gd name="T9" fmla="*/ 0 h 122"/>
                <a:gd name="T10" fmla="*/ 0 w 36"/>
                <a:gd name="T11" fmla="*/ 1 h 122"/>
                <a:gd name="T12" fmla="*/ 1 w 36"/>
                <a:gd name="T13" fmla="*/ 3 h 122"/>
                <a:gd name="T14" fmla="*/ 1 w 36"/>
                <a:gd name="T15" fmla="*/ 3 h 122"/>
                <a:gd name="T16" fmla="*/ 1 w 36"/>
                <a:gd name="T17" fmla="*/ 3 h 122"/>
                <a:gd name="T18" fmla="*/ 0 w 36"/>
                <a:gd name="T19" fmla="*/ 3 h 122"/>
                <a:gd name="T20" fmla="*/ 0 w 36"/>
                <a:gd name="T21" fmla="*/ 3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19" name="Freeform 1254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2 h 176"/>
                <a:gd name="T4" fmla="*/ 0 w 47"/>
                <a:gd name="T5" fmla="*/ 0 h 176"/>
                <a:gd name="T6" fmla="*/ 0 w 47"/>
                <a:gd name="T7" fmla="*/ 0 h 176"/>
                <a:gd name="T8" fmla="*/ 1 w 47"/>
                <a:gd name="T9" fmla="*/ 0 h 176"/>
                <a:gd name="T10" fmla="*/ 1 w 47"/>
                <a:gd name="T11" fmla="*/ 0 h 176"/>
                <a:gd name="T12" fmla="*/ 0 w 47"/>
                <a:gd name="T13" fmla="*/ 2 h 176"/>
                <a:gd name="T14" fmla="*/ 1 w 47"/>
                <a:gd name="T15" fmla="*/ 4 h 176"/>
                <a:gd name="T16" fmla="*/ 1 w 47"/>
                <a:gd name="T17" fmla="*/ 4 h 176"/>
                <a:gd name="T18" fmla="*/ 1 w 47"/>
                <a:gd name="T19" fmla="*/ 4 h 176"/>
                <a:gd name="T20" fmla="*/ 0 w 47"/>
                <a:gd name="T21" fmla="*/ 4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0" name="Freeform 1255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1 w 59"/>
                <a:gd name="T1" fmla="*/ 5 h 231"/>
                <a:gd name="T2" fmla="*/ 0 w 59"/>
                <a:gd name="T3" fmla="*/ 3 h 231"/>
                <a:gd name="T4" fmla="*/ 1 w 59"/>
                <a:gd name="T5" fmla="*/ 0 h 231"/>
                <a:gd name="T6" fmla="*/ 1 w 59"/>
                <a:gd name="T7" fmla="*/ 0 h 231"/>
                <a:gd name="T8" fmla="*/ 1 w 59"/>
                <a:gd name="T9" fmla="*/ 0 h 231"/>
                <a:gd name="T10" fmla="*/ 0 w 59"/>
                <a:gd name="T11" fmla="*/ 3 h 231"/>
                <a:gd name="T12" fmla="*/ 1 w 59"/>
                <a:gd name="T13" fmla="*/ 5 h 231"/>
                <a:gd name="T14" fmla="*/ 1 w 59"/>
                <a:gd name="T15" fmla="*/ 5 h 231"/>
                <a:gd name="T16" fmla="*/ 1 w 59"/>
                <a:gd name="T17" fmla="*/ 5 h 231"/>
                <a:gd name="T18" fmla="*/ 1 w 59"/>
                <a:gd name="T19" fmla="*/ 5 h 231"/>
                <a:gd name="T20" fmla="*/ 1 w 59"/>
                <a:gd name="T21" fmla="*/ 5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1" name="Freeform 1256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1 w 70"/>
                <a:gd name="T1" fmla="*/ 7 h 285"/>
                <a:gd name="T2" fmla="*/ 0 w 70"/>
                <a:gd name="T3" fmla="*/ 3 h 285"/>
                <a:gd name="T4" fmla="*/ 1 w 70"/>
                <a:gd name="T5" fmla="*/ 0 h 285"/>
                <a:gd name="T6" fmla="*/ 1 w 70"/>
                <a:gd name="T7" fmla="*/ 0 h 285"/>
                <a:gd name="T8" fmla="*/ 1 w 70"/>
                <a:gd name="T9" fmla="*/ 0 h 285"/>
                <a:gd name="T10" fmla="*/ 1 w 70"/>
                <a:gd name="T11" fmla="*/ 0 h 285"/>
                <a:gd name="T12" fmla="*/ 0 w 70"/>
                <a:gd name="T13" fmla="*/ 3 h 285"/>
                <a:gd name="T14" fmla="*/ 1 w 70"/>
                <a:gd name="T15" fmla="*/ 7 h 285"/>
                <a:gd name="T16" fmla="*/ 1 w 70"/>
                <a:gd name="T17" fmla="*/ 7 h 285"/>
                <a:gd name="T18" fmla="*/ 1 w 70"/>
                <a:gd name="T19" fmla="*/ 7 h 285"/>
                <a:gd name="T20" fmla="*/ 1 w 70"/>
                <a:gd name="T21" fmla="*/ 7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322" name="Freeform 1257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1 w 91"/>
                <a:gd name="T1" fmla="*/ 4 h 346"/>
                <a:gd name="T2" fmla="*/ 1 w 91"/>
                <a:gd name="T3" fmla="*/ 0 h 346"/>
                <a:gd name="T4" fmla="*/ 1 w 91"/>
                <a:gd name="T5" fmla="*/ 0 h 346"/>
                <a:gd name="T6" fmla="*/ 1 w 91"/>
                <a:gd name="T7" fmla="*/ 0 h 346"/>
                <a:gd name="T8" fmla="*/ 1 w 91"/>
                <a:gd name="T9" fmla="*/ 4 h 346"/>
                <a:gd name="T10" fmla="*/ 0 w 91"/>
                <a:gd name="T11" fmla="*/ 9 h 346"/>
                <a:gd name="T12" fmla="*/ 0 w 91"/>
                <a:gd name="T13" fmla="*/ 9 h 346"/>
                <a:gd name="T14" fmla="*/ 1 w 91"/>
                <a:gd name="T15" fmla="*/ 6 h 346"/>
                <a:gd name="T16" fmla="*/ 1 w 91"/>
                <a:gd name="T17" fmla="*/ 9 h 346"/>
                <a:gd name="T18" fmla="*/ 1 w 91"/>
                <a:gd name="T19" fmla="*/ 9 h 346"/>
                <a:gd name="T20" fmla="*/ 1 w 91"/>
                <a:gd name="T21" fmla="*/ 6 h 346"/>
                <a:gd name="T22" fmla="*/ 2 w 91"/>
                <a:gd name="T23" fmla="*/ 9 h 346"/>
                <a:gd name="T24" fmla="*/ 2 w 91"/>
                <a:gd name="T25" fmla="*/ 9 h 346"/>
                <a:gd name="T26" fmla="*/ 1 w 91"/>
                <a:gd name="T27" fmla="*/ 4 h 346"/>
                <a:gd name="T28" fmla="*/ 1 w 91"/>
                <a:gd name="T29" fmla="*/ 4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180245" name="Picture 156" descr="HetNet_Fi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21600" y="2078232"/>
            <a:ext cx="3233738" cy="2075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0249" name="Group 1364"/>
          <p:cNvGrpSpPr>
            <a:grpSpLocks/>
          </p:cNvGrpSpPr>
          <p:nvPr/>
        </p:nvGrpSpPr>
        <p:grpSpPr bwMode="auto">
          <a:xfrm>
            <a:off x="5095875" y="4752887"/>
            <a:ext cx="738188" cy="781227"/>
            <a:chOff x="4104" y="1220"/>
            <a:chExt cx="268" cy="268"/>
          </a:xfrm>
        </p:grpSpPr>
        <p:sp>
          <p:nvSpPr>
            <p:cNvPr id="180266" name="Freeform 1365"/>
            <p:cNvSpPr>
              <a:spLocks/>
            </p:cNvSpPr>
            <p:nvPr/>
          </p:nvSpPr>
          <p:spPr bwMode="auto">
            <a:xfrm>
              <a:off x="4107" y="1223"/>
              <a:ext cx="262" cy="262"/>
            </a:xfrm>
            <a:custGeom>
              <a:avLst/>
              <a:gdLst>
                <a:gd name="T0" fmla="*/ 13 w 554"/>
                <a:gd name="T1" fmla="*/ 12 h 554"/>
                <a:gd name="T2" fmla="*/ 12 w 554"/>
                <a:gd name="T3" fmla="*/ 13 h 554"/>
                <a:gd name="T4" fmla="*/ 1 w 554"/>
                <a:gd name="T5" fmla="*/ 13 h 554"/>
                <a:gd name="T6" fmla="*/ 0 w 554"/>
                <a:gd name="T7" fmla="*/ 12 h 554"/>
                <a:gd name="T8" fmla="*/ 0 w 554"/>
                <a:gd name="T9" fmla="*/ 1 h 554"/>
                <a:gd name="T10" fmla="*/ 1 w 554"/>
                <a:gd name="T11" fmla="*/ 0 h 554"/>
                <a:gd name="T12" fmla="*/ 12 w 554"/>
                <a:gd name="T13" fmla="*/ 0 h 554"/>
                <a:gd name="T14" fmla="*/ 13 w 554"/>
                <a:gd name="T15" fmla="*/ 1 h 554"/>
                <a:gd name="T16" fmla="*/ 13 w 554"/>
                <a:gd name="T17" fmla="*/ 12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1" y="554"/>
                  </a:cubicBezTo>
                  <a:cubicBezTo>
                    <a:pt x="62" y="554"/>
                    <a:pt x="62" y="554"/>
                    <a:pt x="62" y="554"/>
                  </a:cubicBezTo>
                  <a:cubicBezTo>
                    <a:pt x="28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8" y="0"/>
                    <a:pt x="62" y="0"/>
                  </a:cubicBezTo>
                  <a:cubicBezTo>
                    <a:pt x="491" y="0"/>
                    <a:pt x="491" y="0"/>
                    <a:pt x="491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67" name="Freeform 1366"/>
            <p:cNvSpPr>
              <a:spLocks noEditPoints="1"/>
            </p:cNvSpPr>
            <p:nvPr/>
          </p:nvSpPr>
          <p:spPr bwMode="auto">
            <a:xfrm>
              <a:off x="4104" y="1220"/>
              <a:ext cx="268" cy="268"/>
            </a:xfrm>
            <a:custGeom>
              <a:avLst/>
              <a:gdLst>
                <a:gd name="T0" fmla="*/ 2 w 567"/>
                <a:gd name="T1" fmla="*/ 13 h 567"/>
                <a:gd name="T2" fmla="*/ 0 w 567"/>
                <a:gd name="T3" fmla="*/ 12 h 567"/>
                <a:gd name="T4" fmla="*/ 0 w 567"/>
                <a:gd name="T5" fmla="*/ 2 h 567"/>
                <a:gd name="T6" fmla="*/ 2 w 567"/>
                <a:gd name="T7" fmla="*/ 0 h 567"/>
                <a:gd name="T8" fmla="*/ 12 w 567"/>
                <a:gd name="T9" fmla="*/ 0 h 567"/>
                <a:gd name="T10" fmla="*/ 13 w 567"/>
                <a:gd name="T11" fmla="*/ 1 h 567"/>
                <a:gd name="T12" fmla="*/ 13 w 567"/>
                <a:gd name="T13" fmla="*/ 1 h 567"/>
                <a:gd name="T14" fmla="*/ 13 w 567"/>
                <a:gd name="T15" fmla="*/ 12 h 567"/>
                <a:gd name="T16" fmla="*/ 13 w 567"/>
                <a:gd name="T17" fmla="*/ 12 h 567"/>
                <a:gd name="T18" fmla="*/ 13 w 567"/>
                <a:gd name="T19" fmla="*/ 12 h 567"/>
                <a:gd name="T20" fmla="*/ 12 w 567"/>
                <a:gd name="T21" fmla="*/ 13 h 567"/>
                <a:gd name="T22" fmla="*/ 2 w 567"/>
                <a:gd name="T23" fmla="*/ 13 h 567"/>
                <a:gd name="T24" fmla="*/ 0 w 567"/>
                <a:gd name="T25" fmla="*/ 2 h 567"/>
                <a:gd name="T26" fmla="*/ 0 w 567"/>
                <a:gd name="T27" fmla="*/ 12 h 567"/>
                <a:gd name="T28" fmla="*/ 2 w 567"/>
                <a:gd name="T29" fmla="*/ 13 h 567"/>
                <a:gd name="T30" fmla="*/ 12 w 567"/>
                <a:gd name="T31" fmla="*/ 13 h 567"/>
                <a:gd name="T32" fmla="*/ 13 w 567"/>
                <a:gd name="T33" fmla="*/ 12 h 567"/>
                <a:gd name="T34" fmla="*/ 13 w 567"/>
                <a:gd name="T35" fmla="*/ 2 h 567"/>
                <a:gd name="T36" fmla="*/ 13 w 567"/>
                <a:gd name="T37" fmla="*/ 2 h 567"/>
                <a:gd name="T38" fmla="*/ 12 w 567"/>
                <a:gd name="T39" fmla="*/ 0 h 567"/>
                <a:gd name="T40" fmla="*/ 2 w 567"/>
                <a:gd name="T41" fmla="*/ 0 h 567"/>
                <a:gd name="T42" fmla="*/ 0 w 567"/>
                <a:gd name="T43" fmla="*/ 2 h 56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67"/>
                <a:gd name="T67" fmla="*/ 0 h 567"/>
                <a:gd name="T68" fmla="*/ 567 w 567"/>
                <a:gd name="T69" fmla="*/ 567 h 56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6" y="0"/>
                    <a:pt x="567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1" y="498"/>
                    <a:pt x="561" y="498"/>
                    <a:pt x="561" y="49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68" name="Freeform 1367"/>
            <p:cNvSpPr>
              <a:spLocks/>
            </p:cNvSpPr>
            <p:nvPr/>
          </p:nvSpPr>
          <p:spPr bwMode="auto">
            <a:xfrm>
              <a:off x="4188" y="1248"/>
              <a:ext cx="101" cy="218"/>
            </a:xfrm>
            <a:custGeom>
              <a:avLst/>
              <a:gdLst>
                <a:gd name="T0" fmla="*/ 5 w 214"/>
                <a:gd name="T1" fmla="*/ 10 h 462"/>
                <a:gd name="T2" fmla="*/ 4 w 214"/>
                <a:gd name="T3" fmla="*/ 11 h 462"/>
                <a:gd name="T4" fmla="*/ 1 w 214"/>
                <a:gd name="T5" fmla="*/ 11 h 462"/>
                <a:gd name="T6" fmla="*/ 0 w 214"/>
                <a:gd name="T7" fmla="*/ 10 h 462"/>
                <a:gd name="T8" fmla="*/ 0 w 214"/>
                <a:gd name="T9" fmla="*/ 1 h 462"/>
                <a:gd name="T10" fmla="*/ 1 w 214"/>
                <a:gd name="T11" fmla="*/ 0 h 462"/>
                <a:gd name="T12" fmla="*/ 4 w 214"/>
                <a:gd name="T13" fmla="*/ 0 h 462"/>
                <a:gd name="T14" fmla="*/ 5 w 214"/>
                <a:gd name="T15" fmla="*/ 1 h 462"/>
                <a:gd name="T16" fmla="*/ 5 w 214"/>
                <a:gd name="T17" fmla="*/ 10 h 462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214"/>
                <a:gd name="T28" fmla="*/ 0 h 462"/>
                <a:gd name="T29" fmla="*/ 214 w 214"/>
                <a:gd name="T30" fmla="*/ 462 h 462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214" h="462">
                  <a:moveTo>
                    <a:pt x="214" y="423"/>
                  </a:moveTo>
                  <a:cubicBezTo>
                    <a:pt x="214" y="445"/>
                    <a:pt x="198" y="462"/>
                    <a:pt x="178" y="462"/>
                  </a:cubicBezTo>
                  <a:cubicBezTo>
                    <a:pt x="35" y="462"/>
                    <a:pt x="35" y="462"/>
                    <a:pt x="35" y="462"/>
                  </a:cubicBezTo>
                  <a:cubicBezTo>
                    <a:pt x="16" y="462"/>
                    <a:pt x="0" y="445"/>
                    <a:pt x="0" y="423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18"/>
                    <a:pt x="16" y="0"/>
                    <a:pt x="35" y="0"/>
                  </a:cubicBezTo>
                  <a:cubicBezTo>
                    <a:pt x="178" y="0"/>
                    <a:pt x="178" y="0"/>
                    <a:pt x="178" y="0"/>
                  </a:cubicBezTo>
                  <a:cubicBezTo>
                    <a:pt x="198" y="0"/>
                    <a:pt x="214" y="18"/>
                    <a:pt x="214" y="39"/>
                  </a:cubicBezTo>
                  <a:lnTo>
                    <a:pt x="214" y="42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69" name="Freeform 1368"/>
            <p:cNvSpPr>
              <a:spLocks noEditPoints="1"/>
            </p:cNvSpPr>
            <p:nvPr/>
          </p:nvSpPr>
          <p:spPr bwMode="auto">
            <a:xfrm>
              <a:off x="4184" y="1245"/>
              <a:ext cx="107" cy="224"/>
            </a:xfrm>
            <a:custGeom>
              <a:avLst/>
              <a:gdLst>
                <a:gd name="T0" fmla="*/ 1 w 227"/>
                <a:gd name="T1" fmla="*/ 11 h 474"/>
                <a:gd name="T2" fmla="*/ 0 w 227"/>
                <a:gd name="T3" fmla="*/ 10 h 474"/>
                <a:gd name="T4" fmla="*/ 0 w 227"/>
                <a:gd name="T5" fmla="*/ 1 h 474"/>
                <a:gd name="T6" fmla="*/ 1 w 227"/>
                <a:gd name="T7" fmla="*/ 0 h 474"/>
                <a:gd name="T8" fmla="*/ 4 w 227"/>
                <a:gd name="T9" fmla="*/ 0 h 474"/>
                <a:gd name="T10" fmla="*/ 5 w 227"/>
                <a:gd name="T11" fmla="*/ 1 h 474"/>
                <a:gd name="T12" fmla="*/ 5 w 227"/>
                <a:gd name="T13" fmla="*/ 10 h 474"/>
                <a:gd name="T14" fmla="*/ 4 w 227"/>
                <a:gd name="T15" fmla="*/ 11 h 474"/>
                <a:gd name="T16" fmla="*/ 1 w 227"/>
                <a:gd name="T17" fmla="*/ 11 h 474"/>
                <a:gd name="T18" fmla="*/ 0 w 227"/>
                <a:gd name="T19" fmla="*/ 1 h 474"/>
                <a:gd name="T20" fmla="*/ 0 w 227"/>
                <a:gd name="T21" fmla="*/ 10 h 474"/>
                <a:gd name="T22" fmla="*/ 1 w 227"/>
                <a:gd name="T23" fmla="*/ 11 h 474"/>
                <a:gd name="T24" fmla="*/ 4 w 227"/>
                <a:gd name="T25" fmla="*/ 11 h 474"/>
                <a:gd name="T26" fmla="*/ 5 w 227"/>
                <a:gd name="T27" fmla="*/ 10 h 474"/>
                <a:gd name="T28" fmla="*/ 5 w 227"/>
                <a:gd name="T29" fmla="*/ 1 h 474"/>
                <a:gd name="T30" fmla="*/ 4 w 227"/>
                <a:gd name="T31" fmla="*/ 0 h 474"/>
                <a:gd name="T32" fmla="*/ 1 w 227"/>
                <a:gd name="T33" fmla="*/ 0 h 474"/>
                <a:gd name="T34" fmla="*/ 0 w 227"/>
                <a:gd name="T35" fmla="*/ 1 h 47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227"/>
                <a:gd name="T55" fmla="*/ 0 h 474"/>
                <a:gd name="T56" fmla="*/ 227 w 227"/>
                <a:gd name="T57" fmla="*/ 474 h 47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227" h="474">
                  <a:moveTo>
                    <a:pt x="42" y="474"/>
                  </a:moveTo>
                  <a:cubicBezTo>
                    <a:pt x="19" y="474"/>
                    <a:pt x="0" y="454"/>
                    <a:pt x="0" y="429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20"/>
                    <a:pt x="19" y="0"/>
                    <a:pt x="42" y="0"/>
                  </a:cubicBezTo>
                  <a:cubicBezTo>
                    <a:pt x="185" y="0"/>
                    <a:pt x="185" y="0"/>
                    <a:pt x="185" y="0"/>
                  </a:cubicBezTo>
                  <a:cubicBezTo>
                    <a:pt x="209" y="0"/>
                    <a:pt x="227" y="20"/>
                    <a:pt x="227" y="45"/>
                  </a:cubicBezTo>
                  <a:cubicBezTo>
                    <a:pt x="227" y="429"/>
                    <a:pt x="227" y="429"/>
                    <a:pt x="227" y="429"/>
                  </a:cubicBezTo>
                  <a:cubicBezTo>
                    <a:pt x="227" y="454"/>
                    <a:pt x="209" y="474"/>
                    <a:pt x="185" y="474"/>
                  </a:cubicBezTo>
                  <a:lnTo>
                    <a:pt x="42" y="474"/>
                  </a:lnTo>
                  <a:close/>
                  <a:moveTo>
                    <a:pt x="13" y="45"/>
                  </a:moveTo>
                  <a:cubicBezTo>
                    <a:pt x="13" y="429"/>
                    <a:pt x="13" y="429"/>
                    <a:pt x="13" y="429"/>
                  </a:cubicBezTo>
                  <a:cubicBezTo>
                    <a:pt x="13" y="447"/>
                    <a:pt x="27" y="461"/>
                    <a:pt x="42" y="461"/>
                  </a:cubicBezTo>
                  <a:cubicBezTo>
                    <a:pt x="185" y="461"/>
                    <a:pt x="185" y="461"/>
                    <a:pt x="185" y="461"/>
                  </a:cubicBezTo>
                  <a:cubicBezTo>
                    <a:pt x="201" y="461"/>
                    <a:pt x="214" y="447"/>
                    <a:pt x="214" y="429"/>
                  </a:cubicBezTo>
                  <a:cubicBezTo>
                    <a:pt x="214" y="45"/>
                    <a:pt x="214" y="45"/>
                    <a:pt x="214" y="45"/>
                  </a:cubicBezTo>
                  <a:cubicBezTo>
                    <a:pt x="214" y="27"/>
                    <a:pt x="201" y="13"/>
                    <a:pt x="185" y="13"/>
                  </a:cubicBezTo>
                  <a:cubicBezTo>
                    <a:pt x="42" y="13"/>
                    <a:pt x="42" y="13"/>
                    <a:pt x="42" y="13"/>
                  </a:cubicBezTo>
                  <a:cubicBezTo>
                    <a:pt x="27" y="13"/>
                    <a:pt x="13" y="27"/>
                    <a:pt x="13" y="45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0" name="Freeform 1369"/>
            <p:cNvSpPr>
              <a:spLocks noEditPoints="1"/>
            </p:cNvSpPr>
            <p:nvPr/>
          </p:nvSpPr>
          <p:spPr bwMode="auto">
            <a:xfrm>
              <a:off x="4202" y="1261"/>
              <a:ext cx="70" cy="191"/>
            </a:xfrm>
            <a:custGeom>
              <a:avLst/>
              <a:gdLst>
                <a:gd name="T0" fmla="*/ 0 w 148"/>
                <a:gd name="T1" fmla="*/ 9 h 406"/>
                <a:gd name="T2" fmla="*/ 0 w 148"/>
                <a:gd name="T3" fmla="*/ 0 h 406"/>
                <a:gd name="T4" fmla="*/ 0 w 148"/>
                <a:gd name="T5" fmla="*/ 0 h 406"/>
                <a:gd name="T6" fmla="*/ 3 w 148"/>
                <a:gd name="T7" fmla="*/ 0 h 406"/>
                <a:gd name="T8" fmla="*/ 4 w 148"/>
                <a:gd name="T9" fmla="*/ 0 h 406"/>
                <a:gd name="T10" fmla="*/ 4 w 148"/>
                <a:gd name="T11" fmla="*/ 9 h 406"/>
                <a:gd name="T12" fmla="*/ 3 w 148"/>
                <a:gd name="T13" fmla="*/ 9 h 406"/>
                <a:gd name="T14" fmla="*/ 0 w 148"/>
                <a:gd name="T15" fmla="*/ 9 h 406"/>
                <a:gd name="T16" fmla="*/ 0 w 148"/>
                <a:gd name="T17" fmla="*/ 9 h 406"/>
                <a:gd name="T18" fmla="*/ 0 w 148"/>
                <a:gd name="T19" fmla="*/ 0 h 406"/>
                <a:gd name="T20" fmla="*/ 0 w 148"/>
                <a:gd name="T21" fmla="*/ 9 h 406"/>
                <a:gd name="T22" fmla="*/ 0 w 148"/>
                <a:gd name="T23" fmla="*/ 9 h 406"/>
                <a:gd name="T24" fmla="*/ 3 w 148"/>
                <a:gd name="T25" fmla="*/ 9 h 406"/>
                <a:gd name="T26" fmla="*/ 3 w 148"/>
                <a:gd name="T27" fmla="*/ 9 h 406"/>
                <a:gd name="T28" fmla="*/ 3 w 148"/>
                <a:gd name="T29" fmla="*/ 0 h 406"/>
                <a:gd name="T30" fmla="*/ 3 w 148"/>
                <a:gd name="T31" fmla="*/ 0 h 406"/>
                <a:gd name="T32" fmla="*/ 0 w 148"/>
                <a:gd name="T33" fmla="*/ 0 h 406"/>
                <a:gd name="T34" fmla="*/ 0 w 148"/>
                <a:gd name="T35" fmla="*/ 0 h 4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148"/>
                <a:gd name="T55" fmla="*/ 0 h 406"/>
                <a:gd name="T56" fmla="*/ 148 w 148"/>
                <a:gd name="T57" fmla="*/ 406 h 4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148" h="406">
                  <a:moveTo>
                    <a:pt x="0" y="38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11"/>
                    <a:pt x="11" y="0"/>
                    <a:pt x="23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38" y="0"/>
                    <a:pt x="148" y="11"/>
                    <a:pt x="148" y="23"/>
                  </a:cubicBezTo>
                  <a:cubicBezTo>
                    <a:pt x="148" y="383"/>
                    <a:pt x="148" y="383"/>
                    <a:pt x="148" y="383"/>
                  </a:cubicBezTo>
                  <a:cubicBezTo>
                    <a:pt x="148" y="395"/>
                    <a:pt x="138" y="406"/>
                    <a:pt x="125" y="406"/>
                  </a:cubicBezTo>
                  <a:cubicBezTo>
                    <a:pt x="23" y="406"/>
                    <a:pt x="23" y="406"/>
                    <a:pt x="23" y="406"/>
                  </a:cubicBezTo>
                  <a:cubicBezTo>
                    <a:pt x="11" y="406"/>
                    <a:pt x="0" y="395"/>
                    <a:pt x="0" y="383"/>
                  </a:cubicBezTo>
                  <a:close/>
                  <a:moveTo>
                    <a:pt x="13" y="23"/>
                  </a:moveTo>
                  <a:cubicBezTo>
                    <a:pt x="13" y="383"/>
                    <a:pt x="13" y="383"/>
                    <a:pt x="13" y="383"/>
                  </a:cubicBezTo>
                  <a:cubicBezTo>
                    <a:pt x="13" y="388"/>
                    <a:pt x="18" y="393"/>
                    <a:pt x="23" y="393"/>
                  </a:cubicBezTo>
                  <a:cubicBezTo>
                    <a:pt x="125" y="393"/>
                    <a:pt x="125" y="393"/>
                    <a:pt x="125" y="393"/>
                  </a:cubicBezTo>
                  <a:cubicBezTo>
                    <a:pt x="131" y="393"/>
                    <a:pt x="135" y="388"/>
                    <a:pt x="135" y="383"/>
                  </a:cubicBezTo>
                  <a:cubicBezTo>
                    <a:pt x="135" y="23"/>
                    <a:pt x="135" y="23"/>
                    <a:pt x="135" y="23"/>
                  </a:cubicBezTo>
                  <a:cubicBezTo>
                    <a:pt x="135" y="18"/>
                    <a:pt x="131" y="13"/>
                    <a:pt x="125" y="13"/>
                  </a:cubicBezTo>
                  <a:cubicBezTo>
                    <a:pt x="23" y="13"/>
                    <a:pt x="23" y="13"/>
                    <a:pt x="23" y="13"/>
                  </a:cubicBezTo>
                  <a:cubicBezTo>
                    <a:pt x="18" y="13"/>
                    <a:pt x="13" y="18"/>
                    <a:pt x="13" y="23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1" name="Freeform 1370"/>
            <p:cNvSpPr>
              <a:spLocks/>
            </p:cNvSpPr>
            <p:nvPr/>
          </p:nvSpPr>
          <p:spPr bwMode="auto">
            <a:xfrm>
              <a:off x="4215" y="1273"/>
              <a:ext cx="7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1 w 13"/>
                <a:gd name="T5" fmla="*/ 0 h 63"/>
                <a:gd name="T6" fmla="*/ 1 w 13"/>
                <a:gd name="T7" fmla="*/ 0 h 63"/>
                <a:gd name="T8" fmla="*/ 1 w 13"/>
                <a:gd name="T9" fmla="*/ 1 h 63"/>
                <a:gd name="T10" fmla="*/ 1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1" y="63"/>
                    <a:pt x="7" y="63"/>
                  </a:cubicBezTo>
                  <a:cubicBezTo>
                    <a:pt x="3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2" name="Freeform 1371"/>
            <p:cNvSpPr>
              <a:spLocks/>
            </p:cNvSpPr>
            <p:nvPr/>
          </p:nvSpPr>
          <p:spPr bwMode="auto">
            <a:xfrm>
              <a:off x="4234" y="1273"/>
              <a:ext cx="6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0 w 13"/>
                <a:gd name="T5" fmla="*/ 0 h 63"/>
                <a:gd name="T6" fmla="*/ 0 w 13"/>
                <a:gd name="T7" fmla="*/ 0 h 63"/>
                <a:gd name="T8" fmla="*/ 0 w 13"/>
                <a:gd name="T9" fmla="*/ 1 h 63"/>
                <a:gd name="T10" fmla="*/ 0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0" y="63"/>
                    <a:pt x="6" y="63"/>
                  </a:cubicBezTo>
                  <a:cubicBezTo>
                    <a:pt x="3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3" name="Freeform 1372"/>
            <p:cNvSpPr>
              <a:spLocks/>
            </p:cNvSpPr>
            <p:nvPr/>
          </p:nvSpPr>
          <p:spPr bwMode="auto">
            <a:xfrm>
              <a:off x="4253" y="1273"/>
              <a:ext cx="6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0 w 13"/>
                <a:gd name="T5" fmla="*/ 0 h 63"/>
                <a:gd name="T6" fmla="*/ 0 w 13"/>
                <a:gd name="T7" fmla="*/ 0 h 63"/>
                <a:gd name="T8" fmla="*/ 0 w 13"/>
                <a:gd name="T9" fmla="*/ 1 h 63"/>
                <a:gd name="T10" fmla="*/ 0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0" y="63"/>
                    <a:pt x="6" y="63"/>
                  </a:cubicBezTo>
                  <a:cubicBezTo>
                    <a:pt x="2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4" name="Freeform 1373"/>
            <p:cNvSpPr>
              <a:spLocks/>
            </p:cNvSpPr>
            <p:nvPr/>
          </p:nvSpPr>
          <p:spPr bwMode="auto">
            <a:xfrm>
              <a:off x="4215" y="1341"/>
              <a:ext cx="7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1 w 13"/>
                <a:gd name="T5" fmla="*/ 0 h 63"/>
                <a:gd name="T6" fmla="*/ 1 w 13"/>
                <a:gd name="T7" fmla="*/ 0 h 63"/>
                <a:gd name="T8" fmla="*/ 1 w 13"/>
                <a:gd name="T9" fmla="*/ 1 h 63"/>
                <a:gd name="T10" fmla="*/ 1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1" y="63"/>
                    <a:pt x="7" y="63"/>
                  </a:cubicBezTo>
                  <a:cubicBezTo>
                    <a:pt x="3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5" name="Freeform 1374"/>
            <p:cNvSpPr>
              <a:spLocks/>
            </p:cNvSpPr>
            <p:nvPr/>
          </p:nvSpPr>
          <p:spPr bwMode="auto">
            <a:xfrm>
              <a:off x="4234" y="1341"/>
              <a:ext cx="6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0 w 13"/>
                <a:gd name="T5" fmla="*/ 0 h 63"/>
                <a:gd name="T6" fmla="*/ 0 w 13"/>
                <a:gd name="T7" fmla="*/ 0 h 63"/>
                <a:gd name="T8" fmla="*/ 0 w 13"/>
                <a:gd name="T9" fmla="*/ 1 h 63"/>
                <a:gd name="T10" fmla="*/ 0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0" y="63"/>
                    <a:pt x="6" y="63"/>
                  </a:cubicBezTo>
                  <a:cubicBezTo>
                    <a:pt x="3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6" name="Freeform 1375"/>
            <p:cNvSpPr>
              <a:spLocks/>
            </p:cNvSpPr>
            <p:nvPr/>
          </p:nvSpPr>
          <p:spPr bwMode="auto">
            <a:xfrm>
              <a:off x="4253" y="1341"/>
              <a:ext cx="6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0 w 13"/>
                <a:gd name="T5" fmla="*/ 0 h 63"/>
                <a:gd name="T6" fmla="*/ 0 w 13"/>
                <a:gd name="T7" fmla="*/ 0 h 63"/>
                <a:gd name="T8" fmla="*/ 0 w 13"/>
                <a:gd name="T9" fmla="*/ 1 h 63"/>
                <a:gd name="T10" fmla="*/ 0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0" y="63"/>
                    <a:pt x="6" y="63"/>
                  </a:cubicBezTo>
                  <a:cubicBezTo>
                    <a:pt x="2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7" name="Freeform 1376"/>
            <p:cNvSpPr>
              <a:spLocks/>
            </p:cNvSpPr>
            <p:nvPr/>
          </p:nvSpPr>
          <p:spPr bwMode="auto">
            <a:xfrm>
              <a:off x="4215" y="1409"/>
              <a:ext cx="7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1 w 13"/>
                <a:gd name="T5" fmla="*/ 0 h 63"/>
                <a:gd name="T6" fmla="*/ 1 w 13"/>
                <a:gd name="T7" fmla="*/ 0 h 63"/>
                <a:gd name="T8" fmla="*/ 1 w 13"/>
                <a:gd name="T9" fmla="*/ 1 h 63"/>
                <a:gd name="T10" fmla="*/ 1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7" y="0"/>
                  </a:cubicBezTo>
                  <a:cubicBezTo>
                    <a:pt x="11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1" y="63"/>
                    <a:pt x="7" y="63"/>
                  </a:cubicBezTo>
                  <a:cubicBezTo>
                    <a:pt x="3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8" name="Freeform 1377"/>
            <p:cNvSpPr>
              <a:spLocks/>
            </p:cNvSpPr>
            <p:nvPr/>
          </p:nvSpPr>
          <p:spPr bwMode="auto">
            <a:xfrm>
              <a:off x="4234" y="1409"/>
              <a:ext cx="6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0 w 13"/>
                <a:gd name="T5" fmla="*/ 0 h 63"/>
                <a:gd name="T6" fmla="*/ 0 w 13"/>
                <a:gd name="T7" fmla="*/ 0 h 63"/>
                <a:gd name="T8" fmla="*/ 0 w 13"/>
                <a:gd name="T9" fmla="*/ 1 h 63"/>
                <a:gd name="T10" fmla="*/ 0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0" y="63"/>
                    <a:pt x="6" y="63"/>
                  </a:cubicBezTo>
                  <a:cubicBezTo>
                    <a:pt x="3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79" name="Freeform 1378"/>
            <p:cNvSpPr>
              <a:spLocks/>
            </p:cNvSpPr>
            <p:nvPr/>
          </p:nvSpPr>
          <p:spPr bwMode="auto">
            <a:xfrm>
              <a:off x="4253" y="1409"/>
              <a:ext cx="6" cy="30"/>
            </a:xfrm>
            <a:custGeom>
              <a:avLst/>
              <a:gdLst>
                <a:gd name="T0" fmla="*/ 0 w 13"/>
                <a:gd name="T1" fmla="*/ 1 h 63"/>
                <a:gd name="T2" fmla="*/ 0 w 13"/>
                <a:gd name="T3" fmla="*/ 0 h 63"/>
                <a:gd name="T4" fmla="*/ 0 w 13"/>
                <a:gd name="T5" fmla="*/ 0 h 63"/>
                <a:gd name="T6" fmla="*/ 0 w 13"/>
                <a:gd name="T7" fmla="*/ 0 h 63"/>
                <a:gd name="T8" fmla="*/ 0 w 13"/>
                <a:gd name="T9" fmla="*/ 1 h 63"/>
                <a:gd name="T10" fmla="*/ 0 w 13"/>
                <a:gd name="T11" fmla="*/ 1 h 63"/>
                <a:gd name="T12" fmla="*/ 0 w 13"/>
                <a:gd name="T13" fmla="*/ 1 h 6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63"/>
                <a:gd name="T23" fmla="*/ 13 w 13"/>
                <a:gd name="T24" fmla="*/ 63 h 6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63">
                  <a:moveTo>
                    <a:pt x="0" y="56"/>
                  </a:moveTo>
                  <a:cubicBezTo>
                    <a:pt x="0" y="7"/>
                    <a:pt x="0" y="7"/>
                    <a:pt x="0" y="7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0" y="0"/>
                    <a:pt x="13" y="3"/>
                    <a:pt x="13" y="7"/>
                  </a:cubicBezTo>
                  <a:cubicBezTo>
                    <a:pt x="13" y="56"/>
                    <a:pt x="13" y="56"/>
                    <a:pt x="13" y="56"/>
                  </a:cubicBezTo>
                  <a:cubicBezTo>
                    <a:pt x="13" y="60"/>
                    <a:pt x="10" y="63"/>
                    <a:pt x="6" y="63"/>
                  </a:cubicBezTo>
                  <a:cubicBezTo>
                    <a:pt x="2" y="63"/>
                    <a:pt x="0" y="60"/>
                    <a:pt x="0" y="56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80" name="Freeform 1379"/>
            <p:cNvSpPr>
              <a:spLocks/>
            </p:cNvSpPr>
            <p:nvPr/>
          </p:nvSpPr>
          <p:spPr bwMode="auto">
            <a:xfrm>
              <a:off x="4214" y="1320"/>
              <a:ext cx="45" cy="6"/>
            </a:xfrm>
            <a:custGeom>
              <a:avLst/>
              <a:gdLst>
                <a:gd name="T0" fmla="*/ 0 w 95"/>
                <a:gd name="T1" fmla="*/ 0 h 13"/>
                <a:gd name="T2" fmla="*/ 0 w 95"/>
                <a:gd name="T3" fmla="*/ 0 h 13"/>
                <a:gd name="T4" fmla="*/ 0 w 95"/>
                <a:gd name="T5" fmla="*/ 0 h 13"/>
                <a:gd name="T6" fmla="*/ 2 w 95"/>
                <a:gd name="T7" fmla="*/ 0 h 13"/>
                <a:gd name="T8" fmla="*/ 2 w 95"/>
                <a:gd name="T9" fmla="*/ 0 h 13"/>
                <a:gd name="T10" fmla="*/ 2 w 95"/>
                <a:gd name="T11" fmla="*/ 0 h 13"/>
                <a:gd name="T12" fmla="*/ 0 w 95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5"/>
                <a:gd name="T22" fmla="*/ 0 h 13"/>
                <a:gd name="T23" fmla="*/ 95 w 9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5" h="13">
                  <a:moveTo>
                    <a:pt x="6" y="13"/>
                  </a:moveTo>
                  <a:cubicBezTo>
                    <a:pt x="3" y="13"/>
                    <a:pt x="0" y="10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2" y="0"/>
                    <a:pt x="95" y="2"/>
                    <a:pt x="95" y="6"/>
                  </a:cubicBezTo>
                  <a:cubicBezTo>
                    <a:pt x="95" y="10"/>
                    <a:pt x="92" y="13"/>
                    <a:pt x="89" y="13"/>
                  </a:cubicBezTo>
                  <a:lnTo>
                    <a:pt x="6" y="13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81" name="Freeform 1380"/>
            <p:cNvSpPr>
              <a:spLocks/>
            </p:cNvSpPr>
            <p:nvPr/>
          </p:nvSpPr>
          <p:spPr bwMode="auto">
            <a:xfrm>
              <a:off x="4214" y="1389"/>
              <a:ext cx="45" cy="6"/>
            </a:xfrm>
            <a:custGeom>
              <a:avLst/>
              <a:gdLst>
                <a:gd name="T0" fmla="*/ 0 w 95"/>
                <a:gd name="T1" fmla="*/ 0 h 13"/>
                <a:gd name="T2" fmla="*/ 0 w 95"/>
                <a:gd name="T3" fmla="*/ 0 h 13"/>
                <a:gd name="T4" fmla="*/ 0 w 95"/>
                <a:gd name="T5" fmla="*/ 0 h 13"/>
                <a:gd name="T6" fmla="*/ 2 w 95"/>
                <a:gd name="T7" fmla="*/ 0 h 13"/>
                <a:gd name="T8" fmla="*/ 2 w 95"/>
                <a:gd name="T9" fmla="*/ 0 h 13"/>
                <a:gd name="T10" fmla="*/ 2 w 95"/>
                <a:gd name="T11" fmla="*/ 0 h 13"/>
                <a:gd name="T12" fmla="*/ 0 w 95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95"/>
                <a:gd name="T22" fmla="*/ 0 h 13"/>
                <a:gd name="T23" fmla="*/ 95 w 95"/>
                <a:gd name="T24" fmla="*/ 13 h 1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95" h="13">
                  <a:moveTo>
                    <a:pt x="6" y="13"/>
                  </a:moveTo>
                  <a:cubicBezTo>
                    <a:pt x="3" y="13"/>
                    <a:pt x="0" y="10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89" y="0"/>
                    <a:pt x="89" y="0"/>
                    <a:pt x="89" y="0"/>
                  </a:cubicBezTo>
                  <a:cubicBezTo>
                    <a:pt x="92" y="0"/>
                    <a:pt x="95" y="2"/>
                    <a:pt x="95" y="6"/>
                  </a:cubicBezTo>
                  <a:cubicBezTo>
                    <a:pt x="95" y="10"/>
                    <a:pt x="92" y="13"/>
                    <a:pt x="89" y="13"/>
                  </a:cubicBezTo>
                  <a:lnTo>
                    <a:pt x="6" y="13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80250" name="Group 1242"/>
          <p:cNvGrpSpPr>
            <a:grpSpLocks/>
          </p:cNvGrpSpPr>
          <p:nvPr/>
        </p:nvGrpSpPr>
        <p:grpSpPr bwMode="auto">
          <a:xfrm>
            <a:off x="6048310" y="1943245"/>
            <a:ext cx="755650" cy="799708"/>
            <a:chOff x="4424" y="0"/>
            <a:chExt cx="268" cy="268"/>
          </a:xfrm>
        </p:grpSpPr>
        <p:sp>
          <p:nvSpPr>
            <p:cNvPr id="180251" name="Freeform 1243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13 w 554"/>
                <a:gd name="T1" fmla="*/ 11 h 554"/>
                <a:gd name="T2" fmla="*/ 12 w 554"/>
                <a:gd name="T3" fmla="*/ 13 h 554"/>
                <a:gd name="T4" fmla="*/ 1 w 554"/>
                <a:gd name="T5" fmla="*/ 13 h 554"/>
                <a:gd name="T6" fmla="*/ 0 w 554"/>
                <a:gd name="T7" fmla="*/ 11 h 554"/>
                <a:gd name="T8" fmla="*/ 0 w 554"/>
                <a:gd name="T9" fmla="*/ 1 h 554"/>
                <a:gd name="T10" fmla="*/ 1 w 554"/>
                <a:gd name="T11" fmla="*/ 0 h 554"/>
                <a:gd name="T12" fmla="*/ 12 w 554"/>
                <a:gd name="T13" fmla="*/ 0 h 554"/>
                <a:gd name="T14" fmla="*/ 13 w 554"/>
                <a:gd name="T15" fmla="*/ 1 h 554"/>
                <a:gd name="T16" fmla="*/ 13 w 554"/>
                <a:gd name="T17" fmla="*/ 11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52" name="Freeform 1244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2 w 567"/>
                <a:gd name="T1" fmla="*/ 13 h 567"/>
                <a:gd name="T2" fmla="*/ 0 w 567"/>
                <a:gd name="T3" fmla="*/ 12 h 567"/>
                <a:gd name="T4" fmla="*/ 0 w 567"/>
                <a:gd name="T5" fmla="*/ 2 h 567"/>
                <a:gd name="T6" fmla="*/ 2 w 567"/>
                <a:gd name="T7" fmla="*/ 0 h 567"/>
                <a:gd name="T8" fmla="*/ 12 w 567"/>
                <a:gd name="T9" fmla="*/ 0 h 567"/>
                <a:gd name="T10" fmla="*/ 13 w 567"/>
                <a:gd name="T11" fmla="*/ 1 h 567"/>
                <a:gd name="T12" fmla="*/ 13 w 567"/>
                <a:gd name="T13" fmla="*/ 1 h 567"/>
                <a:gd name="T14" fmla="*/ 13 w 567"/>
                <a:gd name="T15" fmla="*/ 12 h 567"/>
                <a:gd name="T16" fmla="*/ 12 w 567"/>
                <a:gd name="T17" fmla="*/ 13 h 567"/>
                <a:gd name="T18" fmla="*/ 2 w 567"/>
                <a:gd name="T19" fmla="*/ 13 h 567"/>
                <a:gd name="T20" fmla="*/ 0 w 567"/>
                <a:gd name="T21" fmla="*/ 2 h 567"/>
                <a:gd name="T22" fmla="*/ 0 w 567"/>
                <a:gd name="T23" fmla="*/ 12 h 567"/>
                <a:gd name="T24" fmla="*/ 2 w 567"/>
                <a:gd name="T25" fmla="*/ 13 h 567"/>
                <a:gd name="T26" fmla="*/ 12 w 567"/>
                <a:gd name="T27" fmla="*/ 13 h 567"/>
                <a:gd name="T28" fmla="*/ 13 w 567"/>
                <a:gd name="T29" fmla="*/ 12 h 567"/>
                <a:gd name="T30" fmla="*/ 13 w 567"/>
                <a:gd name="T31" fmla="*/ 2 h 567"/>
                <a:gd name="T32" fmla="*/ 13 w 567"/>
                <a:gd name="T33" fmla="*/ 2 h 567"/>
                <a:gd name="T34" fmla="*/ 12 w 567"/>
                <a:gd name="T35" fmla="*/ 0 h 567"/>
                <a:gd name="T36" fmla="*/ 2 w 567"/>
                <a:gd name="T37" fmla="*/ 0 h 567"/>
                <a:gd name="T38" fmla="*/ 0 w 567"/>
                <a:gd name="T39" fmla="*/ 2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53" name="Freeform 1245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3 h 122"/>
                <a:gd name="T4" fmla="*/ 0 w 36"/>
                <a:gd name="T5" fmla="*/ 1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1 w 36"/>
                <a:gd name="T13" fmla="*/ 1 h 122"/>
                <a:gd name="T14" fmla="*/ 0 w 36"/>
                <a:gd name="T15" fmla="*/ 3 h 122"/>
                <a:gd name="T16" fmla="*/ 0 w 36"/>
                <a:gd name="T17" fmla="*/ 3 h 122"/>
                <a:gd name="T18" fmla="*/ 0 w 36"/>
                <a:gd name="T19" fmla="*/ 3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54" name="Freeform 1246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4 h 176"/>
                <a:gd name="T4" fmla="*/ 0 w 47"/>
                <a:gd name="T5" fmla="*/ 2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1 w 47"/>
                <a:gd name="T13" fmla="*/ 2 h 176"/>
                <a:gd name="T14" fmla="*/ 0 w 47"/>
                <a:gd name="T15" fmla="*/ 4 h 176"/>
                <a:gd name="T16" fmla="*/ 0 w 47"/>
                <a:gd name="T17" fmla="*/ 4 h 176"/>
                <a:gd name="T18" fmla="*/ 0 w 47"/>
                <a:gd name="T19" fmla="*/ 4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55" name="Freeform 1247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5 h 231"/>
                <a:gd name="T2" fmla="*/ 0 w 58"/>
                <a:gd name="T3" fmla="*/ 5 h 231"/>
                <a:gd name="T4" fmla="*/ 1 w 58"/>
                <a:gd name="T5" fmla="*/ 3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1 w 58"/>
                <a:gd name="T13" fmla="*/ 3 h 231"/>
                <a:gd name="T14" fmla="*/ 0 w 58"/>
                <a:gd name="T15" fmla="*/ 5 h 231"/>
                <a:gd name="T16" fmla="*/ 0 w 58"/>
                <a:gd name="T17" fmla="*/ 5 h 231"/>
                <a:gd name="T18" fmla="*/ 0 w 58"/>
                <a:gd name="T19" fmla="*/ 5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56" name="Freeform 1248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7 h 285"/>
                <a:gd name="T2" fmla="*/ 0 w 70"/>
                <a:gd name="T3" fmla="*/ 7 h 285"/>
                <a:gd name="T4" fmla="*/ 1 w 70"/>
                <a:gd name="T5" fmla="*/ 3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2 w 70"/>
                <a:gd name="T13" fmla="*/ 3 h 285"/>
                <a:gd name="T14" fmla="*/ 0 w 70"/>
                <a:gd name="T15" fmla="*/ 7 h 285"/>
                <a:gd name="T16" fmla="*/ 0 w 70"/>
                <a:gd name="T17" fmla="*/ 7 h 285"/>
                <a:gd name="T18" fmla="*/ 0 w 70"/>
                <a:gd name="T19" fmla="*/ 7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57" name="Oval 1249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258" name="Freeform 1250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1 h 85"/>
                <a:gd name="T8" fmla="*/ 0 w 43"/>
                <a:gd name="T9" fmla="*/ 2 h 85"/>
                <a:gd name="T10" fmla="*/ 0 w 43"/>
                <a:gd name="T11" fmla="*/ 2 h 85"/>
                <a:gd name="T12" fmla="*/ 1 w 43"/>
                <a:gd name="T13" fmla="*/ 1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59" name="Oval 1251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80260" name="Freeform 1252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1 w 42"/>
                <a:gd name="T3" fmla="*/ 0 h 85"/>
                <a:gd name="T4" fmla="*/ 1 w 42"/>
                <a:gd name="T5" fmla="*/ 0 h 85"/>
                <a:gd name="T6" fmla="*/ 0 w 42"/>
                <a:gd name="T7" fmla="*/ 1 h 85"/>
                <a:gd name="T8" fmla="*/ 1 w 42"/>
                <a:gd name="T9" fmla="*/ 2 h 85"/>
                <a:gd name="T10" fmla="*/ 0 w 42"/>
                <a:gd name="T11" fmla="*/ 2 h 85"/>
                <a:gd name="T12" fmla="*/ 0 w 42"/>
                <a:gd name="T13" fmla="*/ 1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61" name="Freeform 1253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1 h 122"/>
                <a:gd name="T4" fmla="*/ 0 w 36"/>
                <a:gd name="T5" fmla="*/ 0 h 122"/>
                <a:gd name="T6" fmla="*/ 1 w 36"/>
                <a:gd name="T7" fmla="*/ 0 h 122"/>
                <a:gd name="T8" fmla="*/ 1 w 36"/>
                <a:gd name="T9" fmla="*/ 0 h 122"/>
                <a:gd name="T10" fmla="*/ 0 w 36"/>
                <a:gd name="T11" fmla="*/ 1 h 122"/>
                <a:gd name="T12" fmla="*/ 1 w 36"/>
                <a:gd name="T13" fmla="*/ 3 h 122"/>
                <a:gd name="T14" fmla="*/ 1 w 36"/>
                <a:gd name="T15" fmla="*/ 3 h 122"/>
                <a:gd name="T16" fmla="*/ 1 w 36"/>
                <a:gd name="T17" fmla="*/ 3 h 122"/>
                <a:gd name="T18" fmla="*/ 0 w 36"/>
                <a:gd name="T19" fmla="*/ 3 h 122"/>
                <a:gd name="T20" fmla="*/ 0 w 36"/>
                <a:gd name="T21" fmla="*/ 3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62" name="Freeform 1254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2 h 176"/>
                <a:gd name="T4" fmla="*/ 0 w 47"/>
                <a:gd name="T5" fmla="*/ 0 h 176"/>
                <a:gd name="T6" fmla="*/ 0 w 47"/>
                <a:gd name="T7" fmla="*/ 0 h 176"/>
                <a:gd name="T8" fmla="*/ 1 w 47"/>
                <a:gd name="T9" fmla="*/ 0 h 176"/>
                <a:gd name="T10" fmla="*/ 1 w 47"/>
                <a:gd name="T11" fmla="*/ 0 h 176"/>
                <a:gd name="T12" fmla="*/ 0 w 47"/>
                <a:gd name="T13" fmla="*/ 2 h 176"/>
                <a:gd name="T14" fmla="*/ 1 w 47"/>
                <a:gd name="T15" fmla="*/ 4 h 176"/>
                <a:gd name="T16" fmla="*/ 1 w 47"/>
                <a:gd name="T17" fmla="*/ 4 h 176"/>
                <a:gd name="T18" fmla="*/ 1 w 47"/>
                <a:gd name="T19" fmla="*/ 4 h 176"/>
                <a:gd name="T20" fmla="*/ 0 w 47"/>
                <a:gd name="T21" fmla="*/ 4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63" name="Freeform 1255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1 w 59"/>
                <a:gd name="T1" fmla="*/ 5 h 231"/>
                <a:gd name="T2" fmla="*/ 0 w 59"/>
                <a:gd name="T3" fmla="*/ 3 h 231"/>
                <a:gd name="T4" fmla="*/ 1 w 59"/>
                <a:gd name="T5" fmla="*/ 0 h 231"/>
                <a:gd name="T6" fmla="*/ 1 w 59"/>
                <a:gd name="T7" fmla="*/ 0 h 231"/>
                <a:gd name="T8" fmla="*/ 1 w 59"/>
                <a:gd name="T9" fmla="*/ 0 h 231"/>
                <a:gd name="T10" fmla="*/ 0 w 59"/>
                <a:gd name="T11" fmla="*/ 3 h 231"/>
                <a:gd name="T12" fmla="*/ 1 w 59"/>
                <a:gd name="T13" fmla="*/ 5 h 231"/>
                <a:gd name="T14" fmla="*/ 1 w 59"/>
                <a:gd name="T15" fmla="*/ 5 h 231"/>
                <a:gd name="T16" fmla="*/ 1 w 59"/>
                <a:gd name="T17" fmla="*/ 5 h 231"/>
                <a:gd name="T18" fmla="*/ 1 w 59"/>
                <a:gd name="T19" fmla="*/ 5 h 231"/>
                <a:gd name="T20" fmla="*/ 1 w 59"/>
                <a:gd name="T21" fmla="*/ 5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64" name="Freeform 1256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1 w 70"/>
                <a:gd name="T1" fmla="*/ 7 h 285"/>
                <a:gd name="T2" fmla="*/ 0 w 70"/>
                <a:gd name="T3" fmla="*/ 3 h 285"/>
                <a:gd name="T4" fmla="*/ 1 w 70"/>
                <a:gd name="T5" fmla="*/ 0 h 285"/>
                <a:gd name="T6" fmla="*/ 1 w 70"/>
                <a:gd name="T7" fmla="*/ 0 h 285"/>
                <a:gd name="T8" fmla="*/ 1 w 70"/>
                <a:gd name="T9" fmla="*/ 0 h 285"/>
                <a:gd name="T10" fmla="*/ 1 w 70"/>
                <a:gd name="T11" fmla="*/ 0 h 285"/>
                <a:gd name="T12" fmla="*/ 0 w 70"/>
                <a:gd name="T13" fmla="*/ 3 h 285"/>
                <a:gd name="T14" fmla="*/ 1 w 70"/>
                <a:gd name="T15" fmla="*/ 7 h 285"/>
                <a:gd name="T16" fmla="*/ 1 w 70"/>
                <a:gd name="T17" fmla="*/ 7 h 285"/>
                <a:gd name="T18" fmla="*/ 1 w 70"/>
                <a:gd name="T19" fmla="*/ 7 h 285"/>
                <a:gd name="T20" fmla="*/ 1 w 70"/>
                <a:gd name="T21" fmla="*/ 7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80265" name="Freeform 1257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1 w 91"/>
                <a:gd name="T1" fmla="*/ 4 h 346"/>
                <a:gd name="T2" fmla="*/ 1 w 91"/>
                <a:gd name="T3" fmla="*/ 0 h 346"/>
                <a:gd name="T4" fmla="*/ 1 w 91"/>
                <a:gd name="T5" fmla="*/ 0 h 346"/>
                <a:gd name="T6" fmla="*/ 1 w 91"/>
                <a:gd name="T7" fmla="*/ 0 h 346"/>
                <a:gd name="T8" fmla="*/ 1 w 91"/>
                <a:gd name="T9" fmla="*/ 4 h 346"/>
                <a:gd name="T10" fmla="*/ 0 w 91"/>
                <a:gd name="T11" fmla="*/ 9 h 346"/>
                <a:gd name="T12" fmla="*/ 0 w 91"/>
                <a:gd name="T13" fmla="*/ 9 h 346"/>
                <a:gd name="T14" fmla="*/ 1 w 91"/>
                <a:gd name="T15" fmla="*/ 6 h 346"/>
                <a:gd name="T16" fmla="*/ 1 w 91"/>
                <a:gd name="T17" fmla="*/ 9 h 346"/>
                <a:gd name="T18" fmla="*/ 1 w 91"/>
                <a:gd name="T19" fmla="*/ 9 h 346"/>
                <a:gd name="T20" fmla="*/ 1 w 91"/>
                <a:gd name="T21" fmla="*/ 6 h 346"/>
                <a:gd name="T22" fmla="*/ 2 w 91"/>
                <a:gd name="T23" fmla="*/ 9 h 346"/>
                <a:gd name="T24" fmla="*/ 2 w 91"/>
                <a:gd name="T25" fmla="*/ 9 h 346"/>
                <a:gd name="T26" fmla="*/ 1 w 91"/>
                <a:gd name="T27" fmla="*/ 4 h 346"/>
                <a:gd name="T28" fmla="*/ 1 w 91"/>
                <a:gd name="T29" fmla="*/ 4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45" name="Group 1242"/>
          <p:cNvGrpSpPr>
            <a:grpSpLocks/>
          </p:cNvGrpSpPr>
          <p:nvPr/>
        </p:nvGrpSpPr>
        <p:grpSpPr bwMode="auto">
          <a:xfrm>
            <a:off x="5939454" y="3407983"/>
            <a:ext cx="755650" cy="799708"/>
            <a:chOff x="4424" y="0"/>
            <a:chExt cx="268" cy="268"/>
          </a:xfrm>
        </p:grpSpPr>
        <p:sp>
          <p:nvSpPr>
            <p:cNvPr id="146" name="Freeform 1243"/>
            <p:cNvSpPr>
              <a:spLocks/>
            </p:cNvSpPr>
            <p:nvPr/>
          </p:nvSpPr>
          <p:spPr bwMode="auto">
            <a:xfrm>
              <a:off x="4427" y="3"/>
              <a:ext cx="262" cy="261"/>
            </a:xfrm>
            <a:custGeom>
              <a:avLst/>
              <a:gdLst>
                <a:gd name="T0" fmla="*/ 13 w 554"/>
                <a:gd name="T1" fmla="*/ 11 h 554"/>
                <a:gd name="T2" fmla="*/ 12 w 554"/>
                <a:gd name="T3" fmla="*/ 13 h 554"/>
                <a:gd name="T4" fmla="*/ 1 w 554"/>
                <a:gd name="T5" fmla="*/ 13 h 554"/>
                <a:gd name="T6" fmla="*/ 0 w 554"/>
                <a:gd name="T7" fmla="*/ 11 h 554"/>
                <a:gd name="T8" fmla="*/ 0 w 554"/>
                <a:gd name="T9" fmla="*/ 1 h 554"/>
                <a:gd name="T10" fmla="*/ 1 w 554"/>
                <a:gd name="T11" fmla="*/ 0 h 554"/>
                <a:gd name="T12" fmla="*/ 12 w 554"/>
                <a:gd name="T13" fmla="*/ 0 h 554"/>
                <a:gd name="T14" fmla="*/ 13 w 554"/>
                <a:gd name="T15" fmla="*/ 1 h 554"/>
                <a:gd name="T16" fmla="*/ 13 w 554"/>
                <a:gd name="T17" fmla="*/ 11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2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9" y="554"/>
                    <a:pt x="0" y="526"/>
                    <a:pt x="0" y="492"/>
                  </a:cubicBezTo>
                  <a:cubicBezTo>
                    <a:pt x="0" y="63"/>
                    <a:pt x="0" y="63"/>
                    <a:pt x="0" y="63"/>
                  </a:cubicBezTo>
                  <a:cubicBezTo>
                    <a:pt x="0" y="28"/>
                    <a:pt x="29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3"/>
                  </a:cubicBezTo>
                  <a:lnTo>
                    <a:pt x="554" y="492"/>
                  </a:lnTo>
                  <a:close/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7" name="Freeform 1244"/>
            <p:cNvSpPr>
              <a:spLocks noEditPoints="1"/>
            </p:cNvSpPr>
            <p:nvPr/>
          </p:nvSpPr>
          <p:spPr bwMode="auto">
            <a:xfrm>
              <a:off x="4424" y="0"/>
              <a:ext cx="268" cy="268"/>
            </a:xfrm>
            <a:custGeom>
              <a:avLst/>
              <a:gdLst>
                <a:gd name="T0" fmla="*/ 2 w 567"/>
                <a:gd name="T1" fmla="*/ 13 h 567"/>
                <a:gd name="T2" fmla="*/ 0 w 567"/>
                <a:gd name="T3" fmla="*/ 12 h 567"/>
                <a:gd name="T4" fmla="*/ 0 w 567"/>
                <a:gd name="T5" fmla="*/ 2 h 567"/>
                <a:gd name="T6" fmla="*/ 2 w 567"/>
                <a:gd name="T7" fmla="*/ 0 h 567"/>
                <a:gd name="T8" fmla="*/ 12 w 567"/>
                <a:gd name="T9" fmla="*/ 0 h 567"/>
                <a:gd name="T10" fmla="*/ 13 w 567"/>
                <a:gd name="T11" fmla="*/ 1 h 567"/>
                <a:gd name="T12" fmla="*/ 13 w 567"/>
                <a:gd name="T13" fmla="*/ 1 h 567"/>
                <a:gd name="T14" fmla="*/ 13 w 567"/>
                <a:gd name="T15" fmla="*/ 12 h 567"/>
                <a:gd name="T16" fmla="*/ 12 w 567"/>
                <a:gd name="T17" fmla="*/ 13 h 567"/>
                <a:gd name="T18" fmla="*/ 2 w 567"/>
                <a:gd name="T19" fmla="*/ 13 h 567"/>
                <a:gd name="T20" fmla="*/ 0 w 567"/>
                <a:gd name="T21" fmla="*/ 2 h 567"/>
                <a:gd name="T22" fmla="*/ 0 w 567"/>
                <a:gd name="T23" fmla="*/ 12 h 567"/>
                <a:gd name="T24" fmla="*/ 2 w 567"/>
                <a:gd name="T25" fmla="*/ 13 h 567"/>
                <a:gd name="T26" fmla="*/ 12 w 567"/>
                <a:gd name="T27" fmla="*/ 13 h 567"/>
                <a:gd name="T28" fmla="*/ 13 w 567"/>
                <a:gd name="T29" fmla="*/ 12 h 567"/>
                <a:gd name="T30" fmla="*/ 13 w 567"/>
                <a:gd name="T31" fmla="*/ 2 h 567"/>
                <a:gd name="T32" fmla="*/ 13 w 567"/>
                <a:gd name="T33" fmla="*/ 2 h 567"/>
                <a:gd name="T34" fmla="*/ 12 w 567"/>
                <a:gd name="T35" fmla="*/ 0 h 567"/>
                <a:gd name="T36" fmla="*/ 2 w 567"/>
                <a:gd name="T37" fmla="*/ 0 h 567"/>
                <a:gd name="T38" fmla="*/ 0 w 567"/>
                <a:gd name="T39" fmla="*/ 2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FFAF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8" name="Freeform 1245"/>
            <p:cNvSpPr>
              <a:spLocks/>
            </p:cNvSpPr>
            <p:nvPr/>
          </p:nvSpPr>
          <p:spPr bwMode="auto">
            <a:xfrm>
              <a:off x="4608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3 h 122"/>
                <a:gd name="T4" fmla="*/ 0 w 36"/>
                <a:gd name="T5" fmla="*/ 1 h 122"/>
                <a:gd name="T6" fmla="*/ 0 w 36"/>
                <a:gd name="T7" fmla="*/ 0 h 122"/>
                <a:gd name="T8" fmla="*/ 0 w 36"/>
                <a:gd name="T9" fmla="*/ 0 h 122"/>
                <a:gd name="T10" fmla="*/ 0 w 36"/>
                <a:gd name="T11" fmla="*/ 0 h 122"/>
                <a:gd name="T12" fmla="*/ 1 w 36"/>
                <a:gd name="T13" fmla="*/ 1 h 122"/>
                <a:gd name="T14" fmla="*/ 0 w 36"/>
                <a:gd name="T15" fmla="*/ 3 h 122"/>
                <a:gd name="T16" fmla="*/ 0 w 36"/>
                <a:gd name="T17" fmla="*/ 3 h 122"/>
                <a:gd name="T18" fmla="*/ 0 w 36"/>
                <a:gd name="T19" fmla="*/ 3 h 1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122"/>
                <a:gd name="T32" fmla="*/ 36 w 36"/>
                <a:gd name="T33" fmla="*/ 122 h 1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122">
                  <a:moveTo>
                    <a:pt x="2" y="120"/>
                  </a:moveTo>
                  <a:cubicBezTo>
                    <a:pt x="0" y="117"/>
                    <a:pt x="0" y="113"/>
                    <a:pt x="2" y="111"/>
                  </a:cubicBezTo>
                  <a:cubicBezTo>
                    <a:pt x="15" y="98"/>
                    <a:pt x="23" y="80"/>
                    <a:pt x="23" y="61"/>
                  </a:cubicBezTo>
                  <a:cubicBezTo>
                    <a:pt x="23" y="42"/>
                    <a:pt x="15" y="24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26" y="17"/>
                    <a:pt x="36" y="38"/>
                    <a:pt x="36" y="61"/>
                  </a:cubicBezTo>
                  <a:cubicBezTo>
                    <a:pt x="36" y="84"/>
                    <a:pt x="26" y="105"/>
                    <a:pt x="11" y="120"/>
                  </a:cubicBezTo>
                  <a:cubicBezTo>
                    <a:pt x="10" y="121"/>
                    <a:pt x="8" y="122"/>
                    <a:pt x="7" y="122"/>
                  </a:cubicBezTo>
                  <a:cubicBezTo>
                    <a:pt x="5" y="122"/>
                    <a:pt x="3" y="121"/>
                    <a:pt x="2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49" name="Freeform 1246"/>
            <p:cNvSpPr>
              <a:spLocks/>
            </p:cNvSpPr>
            <p:nvPr/>
          </p:nvSpPr>
          <p:spPr bwMode="auto">
            <a:xfrm>
              <a:off x="4618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4 h 176"/>
                <a:gd name="T4" fmla="*/ 0 w 47"/>
                <a:gd name="T5" fmla="*/ 2 h 176"/>
                <a:gd name="T6" fmla="*/ 0 w 47"/>
                <a:gd name="T7" fmla="*/ 0 h 176"/>
                <a:gd name="T8" fmla="*/ 0 w 47"/>
                <a:gd name="T9" fmla="*/ 0 h 176"/>
                <a:gd name="T10" fmla="*/ 0 w 47"/>
                <a:gd name="T11" fmla="*/ 0 h 176"/>
                <a:gd name="T12" fmla="*/ 1 w 47"/>
                <a:gd name="T13" fmla="*/ 2 h 176"/>
                <a:gd name="T14" fmla="*/ 0 w 47"/>
                <a:gd name="T15" fmla="*/ 4 h 176"/>
                <a:gd name="T16" fmla="*/ 0 w 47"/>
                <a:gd name="T17" fmla="*/ 4 h 176"/>
                <a:gd name="T18" fmla="*/ 0 w 47"/>
                <a:gd name="T19" fmla="*/ 4 h 17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176"/>
                <a:gd name="T32" fmla="*/ 47 w 47"/>
                <a:gd name="T33" fmla="*/ 176 h 17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176">
                  <a:moveTo>
                    <a:pt x="2" y="174"/>
                  </a:moveTo>
                  <a:cubicBezTo>
                    <a:pt x="0" y="171"/>
                    <a:pt x="0" y="167"/>
                    <a:pt x="2" y="165"/>
                  </a:cubicBezTo>
                  <a:cubicBezTo>
                    <a:pt x="22" y="145"/>
                    <a:pt x="34" y="118"/>
                    <a:pt x="34" y="88"/>
                  </a:cubicBezTo>
                  <a:cubicBezTo>
                    <a:pt x="34" y="58"/>
                    <a:pt x="22" y="31"/>
                    <a:pt x="2" y="11"/>
                  </a:cubicBezTo>
                  <a:cubicBezTo>
                    <a:pt x="0" y="9"/>
                    <a:pt x="0" y="5"/>
                    <a:pt x="2" y="2"/>
                  </a:cubicBezTo>
                  <a:cubicBezTo>
                    <a:pt x="5" y="0"/>
                    <a:pt x="9" y="0"/>
                    <a:pt x="11" y="2"/>
                  </a:cubicBezTo>
                  <a:cubicBezTo>
                    <a:pt x="33" y="24"/>
                    <a:pt x="47" y="55"/>
                    <a:pt x="47" y="88"/>
                  </a:cubicBezTo>
                  <a:cubicBezTo>
                    <a:pt x="47" y="122"/>
                    <a:pt x="33" y="152"/>
                    <a:pt x="12" y="174"/>
                  </a:cubicBezTo>
                  <a:cubicBezTo>
                    <a:pt x="10" y="175"/>
                    <a:pt x="9" y="176"/>
                    <a:pt x="7" y="176"/>
                  </a:cubicBezTo>
                  <a:cubicBezTo>
                    <a:pt x="5" y="176"/>
                    <a:pt x="4" y="175"/>
                    <a:pt x="2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0" name="Freeform 1247"/>
            <p:cNvSpPr>
              <a:spLocks/>
            </p:cNvSpPr>
            <p:nvPr/>
          </p:nvSpPr>
          <p:spPr bwMode="auto">
            <a:xfrm>
              <a:off x="4629" y="39"/>
              <a:ext cx="27" cy="109"/>
            </a:xfrm>
            <a:custGeom>
              <a:avLst/>
              <a:gdLst>
                <a:gd name="T0" fmla="*/ 0 w 58"/>
                <a:gd name="T1" fmla="*/ 5 h 231"/>
                <a:gd name="T2" fmla="*/ 0 w 58"/>
                <a:gd name="T3" fmla="*/ 5 h 231"/>
                <a:gd name="T4" fmla="*/ 1 w 58"/>
                <a:gd name="T5" fmla="*/ 3 h 231"/>
                <a:gd name="T6" fmla="*/ 0 w 58"/>
                <a:gd name="T7" fmla="*/ 0 h 231"/>
                <a:gd name="T8" fmla="*/ 0 w 58"/>
                <a:gd name="T9" fmla="*/ 0 h 231"/>
                <a:gd name="T10" fmla="*/ 0 w 58"/>
                <a:gd name="T11" fmla="*/ 0 h 231"/>
                <a:gd name="T12" fmla="*/ 1 w 58"/>
                <a:gd name="T13" fmla="*/ 3 h 231"/>
                <a:gd name="T14" fmla="*/ 0 w 58"/>
                <a:gd name="T15" fmla="*/ 5 h 231"/>
                <a:gd name="T16" fmla="*/ 0 w 58"/>
                <a:gd name="T17" fmla="*/ 5 h 231"/>
                <a:gd name="T18" fmla="*/ 0 w 58"/>
                <a:gd name="T19" fmla="*/ 5 h 2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31"/>
                <a:gd name="T32" fmla="*/ 58 w 58"/>
                <a:gd name="T33" fmla="*/ 231 h 2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31">
                  <a:moveTo>
                    <a:pt x="2" y="229"/>
                  </a:moveTo>
                  <a:cubicBezTo>
                    <a:pt x="0" y="226"/>
                    <a:pt x="0" y="222"/>
                    <a:pt x="2" y="220"/>
                  </a:cubicBezTo>
                  <a:cubicBezTo>
                    <a:pt x="29" y="193"/>
                    <a:pt x="45" y="157"/>
                    <a:pt x="45" y="116"/>
                  </a:cubicBezTo>
                  <a:cubicBezTo>
                    <a:pt x="45" y="75"/>
                    <a:pt x="29" y="39"/>
                    <a:pt x="2" y="12"/>
                  </a:cubicBezTo>
                  <a:cubicBezTo>
                    <a:pt x="0" y="10"/>
                    <a:pt x="0" y="6"/>
                    <a:pt x="2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1" y="32"/>
                    <a:pt x="58" y="72"/>
                    <a:pt x="58" y="116"/>
                  </a:cubicBezTo>
                  <a:cubicBezTo>
                    <a:pt x="58" y="160"/>
                    <a:pt x="41" y="200"/>
                    <a:pt x="12" y="229"/>
                  </a:cubicBezTo>
                  <a:cubicBezTo>
                    <a:pt x="10" y="230"/>
                    <a:pt x="9" y="231"/>
                    <a:pt x="7" y="231"/>
                  </a:cubicBezTo>
                  <a:cubicBezTo>
                    <a:pt x="5" y="231"/>
                    <a:pt x="4" y="230"/>
                    <a:pt x="2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1" name="Freeform 1248"/>
            <p:cNvSpPr>
              <a:spLocks/>
            </p:cNvSpPr>
            <p:nvPr/>
          </p:nvSpPr>
          <p:spPr bwMode="auto">
            <a:xfrm>
              <a:off x="4639" y="26"/>
              <a:ext cx="33" cy="135"/>
            </a:xfrm>
            <a:custGeom>
              <a:avLst/>
              <a:gdLst>
                <a:gd name="T0" fmla="*/ 0 w 70"/>
                <a:gd name="T1" fmla="*/ 7 h 285"/>
                <a:gd name="T2" fmla="*/ 0 w 70"/>
                <a:gd name="T3" fmla="*/ 7 h 285"/>
                <a:gd name="T4" fmla="*/ 1 w 70"/>
                <a:gd name="T5" fmla="*/ 3 h 285"/>
                <a:gd name="T6" fmla="*/ 0 w 70"/>
                <a:gd name="T7" fmla="*/ 0 h 285"/>
                <a:gd name="T8" fmla="*/ 0 w 70"/>
                <a:gd name="T9" fmla="*/ 0 h 285"/>
                <a:gd name="T10" fmla="*/ 0 w 70"/>
                <a:gd name="T11" fmla="*/ 0 h 285"/>
                <a:gd name="T12" fmla="*/ 2 w 70"/>
                <a:gd name="T13" fmla="*/ 3 h 285"/>
                <a:gd name="T14" fmla="*/ 0 w 70"/>
                <a:gd name="T15" fmla="*/ 7 h 285"/>
                <a:gd name="T16" fmla="*/ 0 w 70"/>
                <a:gd name="T17" fmla="*/ 7 h 285"/>
                <a:gd name="T18" fmla="*/ 0 w 70"/>
                <a:gd name="T19" fmla="*/ 7 h 28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0"/>
                <a:gd name="T31" fmla="*/ 0 h 285"/>
                <a:gd name="T32" fmla="*/ 70 w 70"/>
                <a:gd name="T33" fmla="*/ 285 h 28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0" h="285">
                  <a:moveTo>
                    <a:pt x="3" y="283"/>
                  </a:moveTo>
                  <a:cubicBezTo>
                    <a:pt x="0" y="281"/>
                    <a:pt x="0" y="276"/>
                    <a:pt x="3" y="274"/>
                  </a:cubicBezTo>
                  <a:cubicBezTo>
                    <a:pt x="36" y="240"/>
                    <a:pt x="57" y="194"/>
                    <a:pt x="57" y="143"/>
                  </a:cubicBezTo>
                  <a:cubicBezTo>
                    <a:pt x="57" y="92"/>
                    <a:pt x="36" y="46"/>
                    <a:pt x="3" y="12"/>
                  </a:cubicBezTo>
                  <a:cubicBezTo>
                    <a:pt x="0" y="10"/>
                    <a:pt x="0" y="5"/>
                    <a:pt x="3" y="3"/>
                  </a:cubicBezTo>
                  <a:cubicBezTo>
                    <a:pt x="5" y="0"/>
                    <a:pt x="9" y="0"/>
                    <a:pt x="12" y="3"/>
                  </a:cubicBezTo>
                  <a:cubicBezTo>
                    <a:pt x="48" y="39"/>
                    <a:pt x="70" y="88"/>
                    <a:pt x="70" y="143"/>
                  </a:cubicBezTo>
                  <a:cubicBezTo>
                    <a:pt x="70" y="198"/>
                    <a:pt x="48" y="247"/>
                    <a:pt x="12" y="283"/>
                  </a:cubicBezTo>
                  <a:cubicBezTo>
                    <a:pt x="11" y="284"/>
                    <a:pt x="9" y="285"/>
                    <a:pt x="7" y="285"/>
                  </a:cubicBezTo>
                  <a:cubicBezTo>
                    <a:pt x="6" y="285"/>
                    <a:pt x="4" y="284"/>
                    <a:pt x="3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2" name="Oval 1249"/>
            <p:cNvSpPr>
              <a:spLocks noChangeArrowheads="1"/>
            </p:cNvSpPr>
            <p:nvPr/>
          </p:nvSpPr>
          <p:spPr bwMode="auto">
            <a:xfrm>
              <a:off x="4519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53" name="Freeform 1250"/>
            <p:cNvSpPr>
              <a:spLocks/>
            </p:cNvSpPr>
            <p:nvPr/>
          </p:nvSpPr>
          <p:spPr bwMode="auto">
            <a:xfrm>
              <a:off x="4530" y="73"/>
              <a:ext cx="21" cy="40"/>
            </a:xfrm>
            <a:custGeom>
              <a:avLst/>
              <a:gdLst>
                <a:gd name="T0" fmla="*/ 0 w 43"/>
                <a:gd name="T1" fmla="*/ 0 h 85"/>
                <a:gd name="T2" fmla="*/ 0 w 43"/>
                <a:gd name="T3" fmla="*/ 0 h 85"/>
                <a:gd name="T4" fmla="*/ 0 w 43"/>
                <a:gd name="T5" fmla="*/ 0 h 85"/>
                <a:gd name="T6" fmla="*/ 0 w 43"/>
                <a:gd name="T7" fmla="*/ 1 h 85"/>
                <a:gd name="T8" fmla="*/ 0 w 43"/>
                <a:gd name="T9" fmla="*/ 2 h 85"/>
                <a:gd name="T10" fmla="*/ 0 w 43"/>
                <a:gd name="T11" fmla="*/ 2 h 85"/>
                <a:gd name="T12" fmla="*/ 1 w 43"/>
                <a:gd name="T13" fmla="*/ 1 h 85"/>
                <a:gd name="T14" fmla="*/ 0 w 43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"/>
                <a:gd name="T25" fmla="*/ 0 h 85"/>
                <a:gd name="T26" fmla="*/ 43 w 43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" h="85">
                  <a:moveTo>
                    <a:pt x="27" y="0"/>
                  </a:moveTo>
                  <a:cubicBezTo>
                    <a:pt x="3" y="0"/>
                    <a:pt x="3" y="0"/>
                    <a:pt x="3" y="0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12" y="2"/>
                    <a:pt x="16" y="20"/>
                    <a:pt x="16" y="43"/>
                  </a:cubicBezTo>
                  <a:cubicBezTo>
                    <a:pt x="16" y="66"/>
                    <a:pt x="9" y="85"/>
                    <a:pt x="0" y="85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35" y="85"/>
                    <a:pt x="43" y="66"/>
                    <a:pt x="43" y="43"/>
                  </a:cubicBezTo>
                  <a:cubicBezTo>
                    <a:pt x="43" y="19"/>
                    <a:pt x="35" y="0"/>
                    <a:pt x="27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4" name="Oval 1251"/>
            <p:cNvSpPr>
              <a:spLocks noChangeArrowheads="1"/>
            </p:cNvSpPr>
            <p:nvPr/>
          </p:nvSpPr>
          <p:spPr bwMode="auto">
            <a:xfrm>
              <a:off x="4585" y="73"/>
              <a:ext cx="15" cy="40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 sz="1800">
                <a:cs typeface="ヒラギノ角ゴ Pro W3"/>
              </a:endParaRPr>
            </a:p>
          </p:txBody>
        </p:sp>
        <p:sp>
          <p:nvSpPr>
            <p:cNvPr id="155" name="Freeform 1252"/>
            <p:cNvSpPr>
              <a:spLocks/>
            </p:cNvSpPr>
            <p:nvPr/>
          </p:nvSpPr>
          <p:spPr bwMode="auto">
            <a:xfrm>
              <a:off x="4569" y="73"/>
              <a:ext cx="19" cy="40"/>
            </a:xfrm>
            <a:custGeom>
              <a:avLst/>
              <a:gdLst>
                <a:gd name="T0" fmla="*/ 0 w 42"/>
                <a:gd name="T1" fmla="*/ 0 h 85"/>
                <a:gd name="T2" fmla="*/ 1 w 42"/>
                <a:gd name="T3" fmla="*/ 0 h 85"/>
                <a:gd name="T4" fmla="*/ 1 w 42"/>
                <a:gd name="T5" fmla="*/ 0 h 85"/>
                <a:gd name="T6" fmla="*/ 0 w 42"/>
                <a:gd name="T7" fmla="*/ 1 h 85"/>
                <a:gd name="T8" fmla="*/ 1 w 42"/>
                <a:gd name="T9" fmla="*/ 2 h 85"/>
                <a:gd name="T10" fmla="*/ 0 w 42"/>
                <a:gd name="T11" fmla="*/ 2 h 85"/>
                <a:gd name="T12" fmla="*/ 0 w 42"/>
                <a:gd name="T13" fmla="*/ 1 h 85"/>
                <a:gd name="T14" fmla="*/ 0 w 42"/>
                <a:gd name="T15" fmla="*/ 0 h 85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2"/>
                <a:gd name="T25" fmla="*/ 0 h 85"/>
                <a:gd name="T26" fmla="*/ 42 w 42"/>
                <a:gd name="T27" fmla="*/ 85 h 85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2" h="85">
                  <a:moveTo>
                    <a:pt x="16" y="0"/>
                  </a:moveTo>
                  <a:cubicBezTo>
                    <a:pt x="39" y="0"/>
                    <a:pt x="39" y="0"/>
                    <a:pt x="39" y="0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31" y="2"/>
                    <a:pt x="26" y="20"/>
                    <a:pt x="26" y="43"/>
                  </a:cubicBezTo>
                  <a:cubicBezTo>
                    <a:pt x="26" y="66"/>
                    <a:pt x="34" y="85"/>
                    <a:pt x="42" y="85"/>
                  </a:cubicBezTo>
                  <a:cubicBezTo>
                    <a:pt x="16" y="85"/>
                    <a:pt x="16" y="85"/>
                    <a:pt x="16" y="85"/>
                  </a:cubicBezTo>
                  <a:cubicBezTo>
                    <a:pt x="7" y="85"/>
                    <a:pt x="0" y="66"/>
                    <a:pt x="0" y="43"/>
                  </a:cubicBezTo>
                  <a:cubicBezTo>
                    <a:pt x="0" y="19"/>
                    <a:pt x="7" y="0"/>
                    <a:pt x="16" y="0"/>
                  </a:cubicBezTo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6" name="Freeform 1253"/>
            <p:cNvSpPr>
              <a:spLocks/>
            </p:cNvSpPr>
            <p:nvPr/>
          </p:nvSpPr>
          <p:spPr bwMode="auto">
            <a:xfrm>
              <a:off x="4494" y="65"/>
              <a:ext cx="17" cy="58"/>
            </a:xfrm>
            <a:custGeom>
              <a:avLst/>
              <a:gdLst>
                <a:gd name="T0" fmla="*/ 0 w 36"/>
                <a:gd name="T1" fmla="*/ 3 h 122"/>
                <a:gd name="T2" fmla="*/ 0 w 36"/>
                <a:gd name="T3" fmla="*/ 1 h 122"/>
                <a:gd name="T4" fmla="*/ 0 w 36"/>
                <a:gd name="T5" fmla="*/ 0 h 122"/>
                <a:gd name="T6" fmla="*/ 1 w 36"/>
                <a:gd name="T7" fmla="*/ 0 h 122"/>
                <a:gd name="T8" fmla="*/ 1 w 36"/>
                <a:gd name="T9" fmla="*/ 0 h 122"/>
                <a:gd name="T10" fmla="*/ 0 w 36"/>
                <a:gd name="T11" fmla="*/ 1 h 122"/>
                <a:gd name="T12" fmla="*/ 1 w 36"/>
                <a:gd name="T13" fmla="*/ 3 h 122"/>
                <a:gd name="T14" fmla="*/ 1 w 36"/>
                <a:gd name="T15" fmla="*/ 3 h 122"/>
                <a:gd name="T16" fmla="*/ 1 w 36"/>
                <a:gd name="T17" fmla="*/ 3 h 122"/>
                <a:gd name="T18" fmla="*/ 0 w 36"/>
                <a:gd name="T19" fmla="*/ 3 h 122"/>
                <a:gd name="T20" fmla="*/ 0 w 36"/>
                <a:gd name="T21" fmla="*/ 3 h 12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6"/>
                <a:gd name="T34" fmla="*/ 0 h 122"/>
                <a:gd name="T35" fmla="*/ 36 w 36"/>
                <a:gd name="T36" fmla="*/ 122 h 12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6" h="122">
                  <a:moveTo>
                    <a:pt x="24" y="120"/>
                  </a:moveTo>
                  <a:cubicBezTo>
                    <a:pt x="9" y="105"/>
                    <a:pt x="0" y="84"/>
                    <a:pt x="0" y="61"/>
                  </a:cubicBezTo>
                  <a:cubicBezTo>
                    <a:pt x="0" y="38"/>
                    <a:pt x="9" y="17"/>
                    <a:pt x="24" y="2"/>
                  </a:cubicBezTo>
                  <a:cubicBezTo>
                    <a:pt x="27" y="0"/>
                    <a:pt x="31" y="0"/>
                    <a:pt x="34" y="2"/>
                  </a:cubicBezTo>
                  <a:cubicBezTo>
                    <a:pt x="36" y="5"/>
                    <a:pt x="36" y="9"/>
                    <a:pt x="34" y="11"/>
                  </a:cubicBezTo>
                  <a:cubicBezTo>
                    <a:pt x="21" y="24"/>
                    <a:pt x="13" y="42"/>
                    <a:pt x="13" y="61"/>
                  </a:cubicBezTo>
                  <a:cubicBezTo>
                    <a:pt x="13" y="80"/>
                    <a:pt x="21" y="98"/>
                    <a:pt x="34" y="111"/>
                  </a:cubicBezTo>
                  <a:cubicBezTo>
                    <a:pt x="34" y="111"/>
                    <a:pt x="34" y="111"/>
                    <a:pt x="34" y="111"/>
                  </a:cubicBezTo>
                  <a:cubicBezTo>
                    <a:pt x="36" y="113"/>
                    <a:pt x="36" y="117"/>
                    <a:pt x="34" y="120"/>
                  </a:cubicBezTo>
                  <a:cubicBezTo>
                    <a:pt x="32" y="121"/>
                    <a:pt x="31" y="122"/>
                    <a:pt x="29" y="122"/>
                  </a:cubicBezTo>
                  <a:cubicBezTo>
                    <a:pt x="27" y="122"/>
                    <a:pt x="26" y="121"/>
                    <a:pt x="24" y="120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7" name="Freeform 1254"/>
            <p:cNvSpPr>
              <a:spLocks/>
            </p:cNvSpPr>
            <p:nvPr/>
          </p:nvSpPr>
          <p:spPr bwMode="auto">
            <a:xfrm>
              <a:off x="4479" y="52"/>
              <a:ext cx="22" cy="84"/>
            </a:xfrm>
            <a:custGeom>
              <a:avLst/>
              <a:gdLst>
                <a:gd name="T0" fmla="*/ 0 w 47"/>
                <a:gd name="T1" fmla="*/ 4 h 176"/>
                <a:gd name="T2" fmla="*/ 0 w 47"/>
                <a:gd name="T3" fmla="*/ 2 h 176"/>
                <a:gd name="T4" fmla="*/ 0 w 47"/>
                <a:gd name="T5" fmla="*/ 0 h 176"/>
                <a:gd name="T6" fmla="*/ 0 w 47"/>
                <a:gd name="T7" fmla="*/ 0 h 176"/>
                <a:gd name="T8" fmla="*/ 1 w 47"/>
                <a:gd name="T9" fmla="*/ 0 h 176"/>
                <a:gd name="T10" fmla="*/ 1 w 47"/>
                <a:gd name="T11" fmla="*/ 0 h 176"/>
                <a:gd name="T12" fmla="*/ 0 w 47"/>
                <a:gd name="T13" fmla="*/ 2 h 176"/>
                <a:gd name="T14" fmla="*/ 1 w 47"/>
                <a:gd name="T15" fmla="*/ 4 h 176"/>
                <a:gd name="T16" fmla="*/ 1 w 47"/>
                <a:gd name="T17" fmla="*/ 4 h 176"/>
                <a:gd name="T18" fmla="*/ 1 w 47"/>
                <a:gd name="T19" fmla="*/ 4 h 176"/>
                <a:gd name="T20" fmla="*/ 0 w 47"/>
                <a:gd name="T21" fmla="*/ 4 h 17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7"/>
                <a:gd name="T34" fmla="*/ 0 h 176"/>
                <a:gd name="T35" fmla="*/ 47 w 47"/>
                <a:gd name="T36" fmla="*/ 176 h 17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7" h="176">
                  <a:moveTo>
                    <a:pt x="35" y="174"/>
                  </a:moveTo>
                  <a:cubicBezTo>
                    <a:pt x="13" y="152"/>
                    <a:pt x="0" y="122"/>
                    <a:pt x="0" y="88"/>
                  </a:cubicBezTo>
                  <a:cubicBezTo>
                    <a:pt x="0" y="55"/>
                    <a:pt x="13" y="24"/>
                    <a:pt x="35" y="2"/>
                  </a:cubicBezTo>
                  <a:cubicBezTo>
                    <a:pt x="35" y="2"/>
                    <a:pt x="35" y="2"/>
                    <a:pt x="35" y="2"/>
                  </a:cubicBezTo>
                  <a:cubicBezTo>
                    <a:pt x="38" y="0"/>
                    <a:pt x="42" y="0"/>
                    <a:pt x="44" y="2"/>
                  </a:cubicBezTo>
                  <a:cubicBezTo>
                    <a:pt x="47" y="5"/>
                    <a:pt x="47" y="9"/>
                    <a:pt x="44" y="11"/>
                  </a:cubicBezTo>
                  <a:cubicBezTo>
                    <a:pt x="25" y="31"/>
                    <a:pt x="13" y="58"/>
                    <a:pt x="13" y="88"/>
                  </a:cubicBezTo>
                  <a:cubicBezTo>
                    <a:pt x="13" y="118"/>
                    <a:pt x="25" y="145"/>
                    <a:pt x="44" y="165"/>
                  </a:cubicBezTo>
                  <a:cubicBezTo>
                    <a:pt x="47" y="167"/>
                    <a:pt x="47" y="171"/>
                    <a:pt x="44" y="174"/>
                  </a:cubicBezTo>
                  <a:cubicBezTo>
                    <a:pt x="43" y="175"/>
                    <a:pt x="42" y="176"/>
                    <a:pt x="40" y="176"/>
                  </a:cubicBezTo>
                  <a:cubicBezTo>
                    <a:pt x="38" y="176"/>
                    <a:pt x="37" y="175"/>
                    <a:pt x="35" y="17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8" name="Freeform 1255"/>
            <p:cNvSpPr>
              <a:spLocks/>
            </p:cNvSpPr>
            <p:nvPr/>
          </p:nvSpPr>
          <p:spPr bwMode="auto">
            <a:xfrm>
              <a:off x="4463" y="39"/>
              <a:ext cx="28" cy="109"/>
            </a:xfrm>
            <a:custGeom>
              <a:avLst/>
              <a:gdLst>
                <a:gd name="T0" fmla="*/ 1 w 59"/>
                <a:gd name="T1" fmla="*/ 5 h 231"/>
                <a:gd name="T2" fmla="*/ 0 w 59"/>
                <a:gd name="T3" fmla="*/ 3 h 231"/>
                <a:gd name="T4" fmla="*/ 1 w 59"/>
                <a:gd name="T5" fmla="*/ 0 h 231"/>
                <a:gd name="T6" fmla="*/ 1 w 59"/>
                <a:gd name="T7" fmla="*/ 0 h 231"/>
                <a:gd name="T8" fmla="*/ 1 w 59"/>
                <a:gd name="T9" fmla="*/ 0 h 231"/>
                <a:gd name="T10" fmla="*/ 0 w 59"/>
                <a:gd name="T11" fmla="*/ 3 h 231"/>
                <a:gd name="T12" fmla="*/ 1 w 59"/>
                <a:gd name="T13" fmla="*/ 5 h 231"/>
                <a:gd name="T14" fmla="*/ 1 w 59"/>
                <a:gd name="T15" fmla="*/ 5 h 231"/>
                <a:gd name="T16" fmla="*/ 1 w 59"/>
                <a:gd name="T17" fmla="*/ 5 h 231"/>
                <a:gd name="T18" fmla="*/ 1 w 59"/>
                <a:gd name="T19" fmla="*/ 5 h 231"/>
                <a:gd name="T20" fmla="*/ 1 w 59"/>
                <a:gd name="T21" fmla="*/ 5 h 231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231"/>
                <a:gd name="T35" fmla="*/ 59 w 59"/>
                <a:gd name="T36" fmla="*/ 231 h 231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231">
                  <a:moveTo>
                    <a:pt x="47" y="229"/>
                  </a:moveTo>
                  <a:cubicBezTo>
                    <a:pt x="18" y="200"/>
                    <a:pt x="0" y="160"/>
                    <a:pt x="0" y="116"/>
                  </a:cubicBezTo>
                  <a:cubicBezTo>
                    <a:pt x="0" y="72"/>
                    <a:pt x="18" y="32"/>
                    <a:pt x="47" y="3"/>
                  </a:cubicBezTo>
                  <a:cubicBezTo>
                    <a:pt x="50" y="0"/>
                    <a:pt x="54" y="0"/>
                    <a:pt x="56" y="3"/>
                  </a:cubicBezTo>
                  <a:cubicBezTo>
                    <a:pt x="59" y="6"/>
                    <a:pt x="59" y="10"/>
                    <a:pt x="56" y="12"/>
                  </a:cubicBezTo>
                  <a:cubicBezTo>
                    <a:pt x="30" y="39"/>
                    <a:pt x="13" y="75"/>
                    <a:pt x="13" y="116"/>
                  </a:cubicBezTo>
                  <a:cubicBezTo>
                    <a:pt x="13" y="157"/>
                    <a:pt x="30" y="193"/>
                    <a:pt x="56" y="220"/>
                  </a:cubicBezTo>
                  <a:cubicBezTo>
                    <a:pt x="56" y="220"/>
                    <a:pt x="56" y="220"/>
                    <a:pt x="56" y="220"/>
                  </a:cubicBezTo>
                  <a:cubicBezTo>
                    <a:pt x="59" y="222"/>
                    <a:pt x="59" y="226"/>
                    <a:pt x="56" y="229"/>
                  </a:cubicBezTo>
                  <a:cubicBezTo>
                    <a:pt x="55" y="230"/>
                    <a:pt x="53" y="231"/>
                    <a:pt x="52" y="231"/>
                  </a:cubicBezTo>
                  <a:cubicBezTo>
                    <a:pt x="50" y="231"/>
                    <a:pt x="48" y="230"/>
                    <a:pt x="47" y="2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59" name="Freeform 1256"/>
            <p:cNvSpPr>
              <a:spLocks/>
            </p:cNvSpPr>
            <p:nvPr/>
          </p:nvSpPr>
          <p:spPr bwMode="auto">
            <a:xfrm>
              <a:off x="4447" y="26"/>
              <a:ext cx="33" cy="135"/>
            </a:xfrm>
            <a:custGeom>
              <a:avLst/>
              <a:gdLst>
                <a:gd name="T0" fmla="*/ 1 w 70"/>
                <a:gd name="T1" fmla="*/ 7 h 285"/>
                <a:gd name="T2" fmla="*/ 0 w 70"/>
                <a:gd name="T3" fmla="*/ 3 h 285"/>
                <a:gd name="T4" fmla="*/ 1 w 70"/>
                <a:gd name="T5" fmla="*/ 0 h 285"/>
                <a:gd name="T6" fmla="*/ 1 w 70"/>
                <a:gd name="T7" fmla="*/ 0 h 285"/>
                <a:gd name="T8" fmla="*/ 1 w 70"/>
                <a:gd name="T9" fmla="*/ 0 h 285"/>
                <a:gd name="T10" fmla="*/ 1 w 70"/>
                <a:gd name="T11" fmla="*/ 0 h 285"/>
                <a:gd name="T12" fmla="*/ 0 w 70"/>
                <a:gd name="T13" fmla="*/ 3 h 285"/>
                <a:gd name="T14" fmla="*/ 1 w 70"/>
                <a:gd name="T15" fmla="*/ 7 h 285"/>
                <a:gd name="T16" fmla="*/ 1 w 70"/>
                <a:gd name="T17" fmla="*/ 7 h 285"/>
                <a:gd name="T18" fmla="*/ 1 w 70"/>
                <a:gd name="T19" fmla="*/ 7 h 285"/>
                <a:gd name="T20" fmla="*/ 1 w 70"/>
                <a:gd name="T21" fmla="*/ 7 h 28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70"/>
                <a:gd name="T34" fmla="*/ 0 h 285"/>
                <a:gd name="T35" fmla="*/ 70 w 70"/>
                <a:gd name="T36" fmla="*/ 285 h 28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70" h="285">
                  <a:moveTo>
                    <a:pt x="58" y="283"/>
                  </a:moveTo>
                  <a:cubicBezTo>
                    <a:pt x="22" y="247"/>
                    <a:pt x="0" y="198"/>
                    <a:pt x="0" y="143"/>
                  </a:cubicBezTo>
                  <a:cubicBezTo>
                    <a:pt x="0" y="88"/>
                    <a:pt x="22" y="39"/>
                    <a:pt x="58" y="3"/>
                  </a:cubicBezTo>
                  <a:cubicBezTo>
                    <a:pt x="58" y="3"/>
                    <a:pt x="58" y="3"/>
                    <a:pt x="58" y="3"/>
                  </a:cubicBezTo>
                  <a:cubicBezTo>
                    <a:pt x="60" y="0"/>
                    <a:pt x="64" y="0"/>
                    <a:pt x="67" y="3"/>
                  </a:cubicBezTo>
                  <a:cubicBezTo>
                    <a:pt x="70" y="5"/>
                    <a:pt x="70" y="10"/>
                    <a:pt x="67" y="12"/>
                  </a:cubicBezTo>
                  <a:cubicBezTo>
                    <a:pt x="34" y="46"/>
                    <a:pt x="13" y="92"/>
                    <a:pt x="13" y="143"/>
                  </a:cubicBezTo>
                  <a:cubicBezTo>
                    <a:pt x="13" y="194"/>
                    <a:pt x="34" y="240"/>
                    <a:pt x="67" y="274"/>
                  </a:cubicBezTo>
                  <a:cubicBezTo>
                    <a:pt x="70" y="276"/>
                    <a:pt x="70" y="281"/>
                    <a:pt x="67" y="283"/>
                  </a:cubicBezTo>
                  <a:cubicBezTo>
                    <a:pt x="66" y="284"/>
                    <a:pt x="64" y="285"/>
                    <a:pt x="62" y="285"/>
                  </a:cubicBezTo>
                  <a:cubicBezTo>
                    <a:pt x="61" y="285"/>
                    <a:pt x="59" y="284"/>
                    <a:pt x="58" y="283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60" name="Freeform 1257"/>
            <p:cNvSpPr>
              <a:spLocks/>
            </p:cNvSpPr>
            <p:nvPr/>
          </p:nvSpPr>
          <p:spPr bwMode="auto">
            <a:xfrm>
              <a:off x="4538" y="86"/>
              <a:ext cx="43" cy="164"/>
            </a:xfrm>
            <a:custGeom>
              <a:avLst/>
              <a:gdLst>
                <a:gd name="T0" fmla="*/ 1 w 91"/>
                <a:gd name="T1" fmla="*/ 4 h 346"/>
                <a:gd name="T2" fmla="*/ 1 w 91"/>
                <a:gd name="T3" fmla="*/ 0 h 346"/>
                <a:gd name="T4" fmla="*/ 1 w 91"/>
                <a:gd name="T5" fmla="*/ 0 h 346"/>
                <a:gd name="T6" fmla="*/ 1 w 91"/>
                <a:gd name="T7" fmla="*/ 0 h 346"/>
                <a:gd name="T8" fmla="*/ 1 w 91"/>
                <a:gd name="T9" fmla="*/ 4 h 346"/>
                <a:gd name="T10" fmla="*/ 0 w 91"/>
                <a:gd name="T11" fmla="*/ 9 h 346"/>
                <a:gd name="T12" fmla="*/ 0 w 91"/>
                <a:gd name="T13" fmla="*/ 9 h 346"/>
                <a:gd name="T14" fmla="*/ 1 w 91"/>
                <a:gd name="T15" fmla="*/ 6 h 346"/>
                <a:gd name="T16" fmla="*/ 1 w 91"/>
                <a:gd name="T17" fmla="*/ 9 h 346"/>
                <a:gd name="T18" fmla="*/ 1 w 91"/>
                <a:gd name="T19" fmla="*/ 9 h 346"/>
                <a:gd name="T20" fmla="*/ 1 w 91"/>
                <a:gd name="T21" fmla="*/ 6 h 346"/>
                <a:gd name="T22" fmla="*/ 2 w 91"/>
                <a:gd name="T23" fmla="*/ 9 h 346"/>
                <a:gd name="T24" fmla="*/ 2 w 91"/>
                <a:gd name="T25" fmla="*/ 9 h 346"/>
                <a:gd name="T26" fmla="*/ 1 w 91"/>
                <a:gd name="T27" fmla="*/ 4 h 346"/>
                <a:gd name="T28" fmla="*/ 1 w 91"/>
                <a:gd name="T29" fmla="*/ 4 h 3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91"/>
                <a:gd name="T46" fmla="*/ 0 h 346"/>
                <a:gd name="T47" fmla="*/ 91 w 91"/>
                <a:gd name="T48" fmla="*/ 346 h 3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91" h="346">
                  <a:moveTo>
                    <a:pt x="53" y="173"/>
                  </a:moveTo>
                  <a:cubicBezTo>
                    <a:pt x="53" y="6"/>
                    <a:pt x="53" y="6"/>
                    <a:pt x="53" y="6"/>
                  </a:cubicBezTo>
                  <a:cubicBezTo>
                    <a:pt x="53" y="3"/>
                    <a:pt x="50" y="0"/>
                    <a:pt x="46" y="0"/>
                  </a:cubicBezTo>
                  <a:cubicBezTo>
                    <a:pt x="43" y="0"/>
                    <a:pt x="40" y="3"/>
                    <a:pt x="40" y="6"/>
                  </a:cubicBezTo>
                  <a:cubicBezTo>
                    <a:pt x="40" y="175"/>
                    <a:pt x="40" y="175"/>
                    <a:pt x="40" y="175"/>
                  </a:cubicBezTo>
                  <a:cubicBezTo>
                    <a:pt x="0" y="346"/>
                    <a:pt x="0" y="346"/>
                    <a:pt x="0" y="346"/>
                  </a:cubicBezTo>
                  <a:cubicBezTo>
                    <a:pt x="13" y="346"/>
                    <a:pt x="13" y="346"/>
                    <a:pt x="13" y="346"/>
                  </a:cubicBezTo>
                  <a:cubicBezTo>
                    <a:pt x="40" y="232"/>
                    <a:pt x="40" y="232"/>
                    <a:pt x="40" y="232"/>
                  </a:cubicBezTo>
                  <a:cubicBezTo>
                    <a:pt x="40" y="346"/>
                    <a:pt x="40" y="346"/>
                    <a:pt x="40" y="346"/>
                  </a:cubicBezTo>
                  <a:cubicBezTo>
                    <a:pt x="53" y="346"/>
                    <a:pt x="53" y="346"/>
                    <a:pt x="53" y="346"/>
                  </a:cubicBezTo>
                  <a:cubicBezTo>
                    <a:pt x="53" y="233"/>
                    <a:pt x="53" y="233"/>
                    <a:pt x="53" y="233"/>
                  </a:cubicBezTo>
                  <a:cubicBezTo>
                    <a:pt x="78" y="346"/>
                    <a:pt x="78" y="346"/>
                    <a:pt x="78" y="346"/>
                  </a:cubicBezTo>
                  <a:cubicBezTo>
                    <a:pt x="91" y="346"/>
                    <a:pt x="91" y="346"/>
                    <a:pt x="91" y="346"/>
                  </a:cubicBezTo>
                  <a:cubicBezTo>
                    <a:pt x="53" y="174"/>
                    <a:pt x="53" y="174"/>
                    <a:pt x="53" y="174"/>
                  </a:cubicBezTo>
                  <a:lnTo>
                    <a:pt x="5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pic>
        <p:nvPicPr>
          <p:cNvPr id="135" name="Picture 2" descr="SON_for_AA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27583" y="1715279"/>
            <a:ext cx="2884355" cy="2782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4" name="Picture 37" descr="Multiradio+Antenna+System+rot+right+pole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00063" y="1735687"/>
            <a:ext cx="655041" cy="2323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91927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753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fi-FI" smtClean="0"/>
              <a:t>Smart Lab finding example:</a:t>
            </a:r>
            <a:br>
              <a:rPr lang="fi-FI" smtClean="0"/>
            </a:br>
            <a:r>
              <a:rPr lang="fi-FI" smtClean="0"/>
              <a:t>Signaling generated by playing Angry Birds</a:t>
            </a:r>
            <a:br>
              <a:rPr lang="fi-FI" smtClean="0"/>
            </a:br>
            <a:endParaRPr lang="fi-FI" smtClean="0"/>
          </a:p>
        </p:txBody>
      </p:sp>
      <p:sp>
        <p:nvSpPr>
          <p:cNvPr id="39" name="AutoShape 11"/>
          <p:cNvSpPr>
            <a:spLocks noChangeArrowheads="1"/>
          </p:cNvSpPr>
          <p:nvPr/>
        </p:nvSpPr>
        <p:spPr bwMode="auto">
          <a:xfrm>
            <a:off x="334964" y="1313462"/>
            <a:ext cx="7367148" cy="4795233"/>
          </a:xfrm>
          <a:prstGeom prst="roundRect">
            <a:avLst>
              <a:gd name="adj" fmla="val 3688"/>
            </a:avLst>
          </a:prstGeom>
          <a:gradFill>
            <a:gsLst>
              <a:gs pos="0">
                <a:srgbClr val="F8F8F8"/>
              </a:gs>
              <a:gs pos="100000">
                <a:srgbClr val="DADBDE"/>
              </a:gs>
            </a:gsLst>
            <a:lin ang="5400000" scaled="1"/>
          </a:gradFill>
          <a:ln>
            <a:noFill/>
            <a:headEnd/>
            <a:tailEnd/>
          </a:ln>
          <a:effectLst>
            <a:outerShdw blurRad="127000" dist="63500" dir="2700000" rotWithShape="0">
              <a:srgbClr val="000000">
                <a:alpha val="52000"/>
              </a:srgbClr>
            </a:outerShdw>
          </a:effectLst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lIns="90000" tIns="46800"/>
          <a:lstStyle/>
          <a:p>
            <a:pPr defTabSz="762000">
              <a:lnSpc>
                <a:spcPct val="90000"/>
              </a:lnSpc>
              <a:spcBef>
                <a:spcPct val="50000"/>
              </a:spcBef>
              <a:buClr>
                <a:schemeClr val="accent2"/>
              </a:buClr>
              <a:defRPr/>
            </a:pPr>
            <a:endParaRPr lang="en-US" sz="1600" b="1">
              <a:solidFill>
                <a:schemeClr val="tx2">
                  <a:lumMod val="50000"/>
                </a:schemeClr>
              </a:solidFill>
              <a:latin typeface="+mn-lt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40" name="Text Box 183" descr="1d3p0125_PEOPLE_LIFESTYLE_4"/>
          <p:cNvSpPr txBox="1">
            <a:spLocks noChangeArrowheads="1"/>
          </p:cNvSpPr>
          <p:nvPr/>
        </p:nvSpPr>
        <p:spPr bwMode="auto">
          <a:xfrm>
            <a:off x="515388" y="1403657"/>
            <a:ext cx="6696075" cy="276999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762000" eaLnBrk="0" hangingPunct="0">
              <a:lnSpc>
                <a:spcPct val="90000"/>
              </a:lnSpc>
              <a:buClr>
                <a:srgbClr val="FFD308"/>
              </a:buClr>
            </a:pPr>
            <a:r>
              <a:rPr lang="en-US" sz="2000" dirty="0">
                <a:solidFill>
                  <a:srgbClr val="595959"/>
                </a:solidFill>
              </a:rPr>
              <a:t>Signaling traffic generated by one hour of Angry Birds play </a:t>
            </a:r>
          </a:p>
        </p:txBody>
      </p:sp>
      <p:sp>
        <p:nvSpPr>
          <p:cNvPr id="41" name="Rectangle 169"/>
          <p:cNvSpPr>
            <a:spLocks noChangeArrowheads="1"/>
          </p:cNvSpPr>
          <p:nvPr/>
        </p:nvSpPr>
        <p:spPr bwMode="auto">
          <a:xfrm>
            <a:off x="1569325" y="4986326"/>
            <a:ext cx="1554162" cy="78483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762000" eaLnBrk="0" hangingPunct="0">
              <a:lnSpc>
                <a:spcPct val="85000"/>
              </a:lnSpc>
              <a:buClr>
                <a:srgbClr val="FFD308"/>
              </a:buClr>
            </a:pPr>
            <a:r>
              <a:rPr lang="en-US" sz="1200" dirty="0">
                <a:solidFill>
                  <a:srgbClr val="333333"/>
                </a:solidFill>
              </a:rPr>
              <a:t>Smartphone </a:t>
            </a:r>
            <a:r>
              <a:rPr lang="en-US" sz="1200" dirty="0" smtClean="0">
                <a:solidFill>
                  <a:srgbClr val="333333"/>
                </a:solidFill>
              </a:rPr>
              <a:t/>
            </a:r>
            <a:br>
              <a:rPr lang="en-US" sz="1200" dirty="0" smtClean="0">
                <a:solidFill>
                  <a:srgbClr val="333333"/>
                </a:solidFill>
              </a:rPr>
            </a:br>
            <a:r>
              <a:rPr lang="en-US" sz="1200" dirty="0" smtClean="0">
                <a:solidFill>
                  <a:srgbClr val="333333"/>
                </a:solidFill>
              </a:rPr>
              <a:t>baseline</a:t>
            </a:r>
            <a:r>
              <a:rPr lang="en-US" sz="1200" dirty="0">
                <a:solidFill>
                  <a:srgbClr val="333333"/>
                </a:solidFill>
              </a:rPr>
              <a:t>– </a:t>
            </a:r>
          </a:p>
          <a:p>
            <a:pPr defTabSz="762000" eaLnBrk="0" hangingPunct="0">
              <a:lnSpc>
                <a:spcPct val="85000"/>
              </a:lnSpc>
              <a:buClr>
                <a:srgbClr val="FFD308"/>
              </a:buClr>
            </a:pPr>
            <a:r>
              <a:rPr lang="en-US" sz="1200" dirty="0">
                <a:solidFill>
                  <a:srgbClr val="333333"/>
                </a:solidFill>
              </a:rPr>
              <a:t>Weather and </a:t>
            </a:r>
            <a:r>
              <a:rPr lang="en-US" sz="1200" dirty="0" smtClean="0">
                <a:solidFill>
                  <a:srgbClr val="333333"/>
                </a:solidFill>
              </a:rPr>
              <a:t/>
            </a:r>
            <a:br>
              <a:rPr lang="en-US" sz="1200" dirty="0" smtClean="0">
                <a:solidFill>
                  <a:srgbClr val="333333"/>
                </a:solidFill>
              </a:rPr>
            </a:br>
            <a:r>
              <a:rPr lang="en-US" sz="1200" dirty="0" smtClean="0">
                <a:solidFill>
                  <a:srgbClr val="333333"/>
                </a:solidFill>
              </a:rPr>
              <a:t>email </a:t>
            </a:r>
            <a:r>
              <a:rPr lang="en-US" sz="1200" dirty="0">
                <a:solidFill>
                  <a:srgbClr val="333333"/>
                </a:solidFill>
              </a:rPr>
              <a:t>updates</a:t>
            </a:r>
          </a:p>
          <a:p>
            <a:pPr defTabSz="762000" eaLnBrk="0" hangingPunct="0">
              <a:lnSpc>
                <a:spcPct val="85000"/>
              </a:lnSpc>
              <a:buClr>
                <a:srgbClr val="FFD308"/>
              </a:buClr>
            </a:pPr>
            <a:r>
              <a:rPr lang="en-US" sz="1200" b="1" dirty="0" smtClean="0"/>
              <a:t>No </a:t>
            </a:r>
            <a:r>
              <a:rPr lang="en-US" sz="1200" b="1" dirty="0"/>
              <a:t>Advertising</a:t>
            </a:r>
          </a:p>
        </p:txBody>
      </p:sp>
      <p:sp>
        <p:nvSpPr>
          <p:cNvPr id="42" name="Rectangle 169"/>
          <p:cNvSpPr>
            <a:spLocks noChangeArrowheads="1"/>
          </p:cNvSpPr>
          <p:nvPr/>
        </p:nvSpPr>
        <p:spPr bwMode="auto">
          <a:xfrm>
            <a:off x="4659475" y="4986326"/>
            <a:ext cx="1353926" cy="99719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762000" eaLnBrk="0" hangingPunct="0">
              <a:lnSpc>
                <a:spcPct val="85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200" dirty="0">
                <a:solidFill>
                  <a:srgbClr val="333333"/>
                </a:solidFill>
              </a:rPr>
              <a:t>Angry Birds on </a:t>
            </a:r>
            <a:r>
              <a:rPr lang="en-US" sz="1200" dirty="0" smtClean="0">
                <a:solidFill>
                  <a:srgbClr val="333333"/>
                </a:solidFill>
              </a:rPr>
              <a:t/>
            </a:r>
            <a:br>
              <a:rPr lang="en-US" sz="1200" dirty="0" smtClean="0">
                <a:solidFill>
                  <a:srgbClr val="333333"/>
                </a:solidFill>
              </a:rPr>
            </a:br>
            <a:r>
              <a:rPr lang="en-US" sz="1200" dirty="0" smtClean="0">
                <a:solidFill>
                  <a:srgbClr val="333333"/>
                </a:solidFill>
              </a:rPr>
              <a:t>Samsung </a:t>
            </a:r>
            <a:r>
              <a:rPr lang="en-US" sz="1200" dirty="0">
                <a:solidFill>
                  <a:srgbClr val="333333"/>
                </a:solidFill>
              </a:rPr>
              <a:t>Galaxy (Android)</a:t>
            </a:r>
          </a:p>
          <a:p>
            <a:pPr defTabSz="762000" eaLnBrk="0" hangingPunct="0">
              <a:lnSpc>
                <a:spcPct val="85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200" b="1" dirty="0">
                <a:solidFill>
                  <a:srgbClr val="000000"/>
                </a:solidFill>
              </a:rPr>
              <a:t>Advertising with </a:t>
            </a:r>
            <a:r>
              <a:rPr lang="en-US" sz="1200" b="1" dirty="0" smtClean="0">
                <a:solidFill>
                  <a:srgbClr val="000000"/>
                </a:solidFill>
              </a:rPr>
              <a:t/>
            </a:r>
            <a:br>
              <a:rPr lang="en-US" sz="1200" b="1" dirty="0" smtClean="0">
                <a:solidFill>
                  <a:srgbClr val="000000"/>
                </a:solidFill>
              </a:rPr>
            </a:br>
            <a:r>
              <a:rPr lang="en-US" sz="1200" b="1" dirty="0" smtClean="0">
                <a:solidFill>
                  <a:srgbClr val="000000"/>
                </a:solidFill>
              </a:rPr>
              <a:t>each </a:t>
            </a:r>
            <a:r>
              <a:rPr lang="en-US" sz="1200" b="1" dirty="0">
                <a:solidFill>
                  <a:srgbClr val="000000"/>
                </a:solidFill>
              </a:rPr>
              <a:t>new game </a:t>
            </a:r>
            <a:r>
              <a:rPr lang="en-US" sz="1200" b="1" dirty="0" smtClean="0">
                <a:solidFill>
                  <a:srgbClr val="000000"/>
                </a:solidFill>
              </a:rPr>
              <a:t/>
            </a:r>
            <a:br>
              <a:rPr lang="en-US" sz="1200" b="1" dirty="0" smtClean="0">
                <a:solidFill>
                  <a:srgbClr val="000000"/>
                </a:solidFill>
              </a:rPr>
            </a:br>
            <a:r>
              <a:rPr lang="en-US" sz="1200" b="1" dirty="0" smtClean="0">
                <a:solidFill>
                  <a:srgbClr val="000000"/>
                </a:solidFill>
              </a:rPr>
              <a:t>level</a:t>
            </a:r>
            <a:endParaRPr lang="en-US" sz="1200" b="1" dirty="0">
              <a:solidFill>
                <a:srgbClr val="000000"/>
              </a:solidFill>
            </a:endParaRPr>
          </a:p>
        </p:txBody>
      </p:sp>
      <p:sp>
        <p:nvSpPr>
          <p:cNvPr id="43" name="AutoShape 8"/>
          <p:cNvSpPr>
            <a:spLocks noChangeArrowheads="1"/>
          </p:cNvSpPr>
          <p:nvPr/>
        </p:nvSpPr>
        <p:spPr bwMode="auto">
          <a:xfrm>
            <a:off x="8056884" y="4662074"/>
            <a:ext cx="2879725" cy="1446620"/>
          </a:xfrm>
          <a:prstGeom prst="roundRect">
            <a:avLst>
              <a:gd name="adj" fmla="val 11858"/>
            </a:avLst>
          </a:prstGeom>
          <a:gradFill rotWithShape="0">
            <a:gsLst>
              <a:gs pos="0">
                <a:srgbClr val="FFC64B"/>
              </a:gs>
              <a:gs pos="60000">
                <a:srgbClr val="FFAF00"/>
              </a:gs>
            </a:gsLst>
            <a:lin ang="5400000" scaled="1"/>
          </a:gradFill>
          <a:ln w="28575" algn="ctr">
            <a:solidFill>
              <a:srgbClr val="FFAF00"/>
            </a:solidFill>
            <a:miter lim="800000"/>
            <a:headEnd/>
            <a:tailEnd/>
          </a:ln>
        </p:spPr>
        <p:txBody>
          <a:bodyPr/>
          <a:lstStyle/>
          <a:p>
            <a:pPr defTabSz="762000">
              <a:lnSpc>
                <a:spcPct val="85000"/>
              </a:lnSpc>
              <a:buClr>
                <a:srgbClr val="FFAF00"/>
              </a:buClr>
              <a:buSzPct val="110000"/>
              <a:defRPr/>
            </a:pPr>
            <a:r>
              <a:rPr lang="en-US" sz="1600" dirty="0">
                <a:solidFill>
                  <a:srgbClr val="333333"/>
                </a:solidFill>
              </a:rPr>
              <a:t>But ads delivered with </a:t>
            </a:r>
            <a:r>
              <a:rPr lang="en-US" sz="1600" dirty="0" smtClean="0">
                <a:solidFill>
                  <a:srgbClr val="333333"/>
                </a:solidFill>
              </a:rPr>
              <a:t/>
            </a:r>
            <a:br>
              <a:rPr lang="en-US" sz="1600" dirty="0" smtClean="0">
                <a:solidFill>
                  <a:srgbClr val="333333"/>
                </a:solidFill>
              </a:rPr>
            </a:br>
            <a:r>
              <a:rPr lang="en-US" sz="1600" dirty="0" smtClean="0">
                <a:solidFill>
                  <a:srgbClr val="333333"/>
                </a:solidFill>
              </a:rPr>
              <a:t>each </a:t>
            </a:r>
            <a:r>
              <a:rPr lang="en-US" sz="1600" dirty="0">
                <a:solidFill>
                  <a:srgbClr val="333333"/>
                </a:solidFill>
              </a:rPr>
              <a:t>new Angry Birds </a:t>
            </a:r>
            <a:r>
              <a:rPr lang="en-US" sz="1600" dirty="0" smtClean="0">
                <a:solidFill>
                  <a:srgbClr val="333333"/>
                </a:solidFill>
              </a:rPr>
              <a:t/>
            </a:r>
            <a:br>
              <a:rPr lang="en-US" sz="1600" dirty="0" smtClean="0">
                <a:solidFill>
                  <a:srgbClr val="333333"/>
                </a:solidFill>
              </a:rPr>
            </a:br>
            <a:r>
              <a:rPr lang="en-US" sz="1600" dirty="0" smtClean="0">
                <a:solidFill>
                  <a:srgbClr val="333333"/>
                </a:solidFill>
              </a:rPr>
              <a:t>level </a:t>
            </a:r>
            <a:r>
              <a:rPr lang="en-US" sz="1600" dirty="0">
                <a:solidFill>
                  <a:srgbClr val="333333"/>
                </a:solidFill>
              </a:rPr>
              <a:t>achieved more than triples signaling traffic on Android phones</a:t>
            </a:r>
          </a:p>
        </p:txBody>
      </p:sp>
      <p:sp>
        <p:nvSpPr>
          <p:cNvPr id="44" name="Rectangle 169"/>
          <p:cNvSpPr>
            <a:spLocks noChangeArrowheads="1"/>
          </p:cNvSpPr>
          <p:nvPr/>
        </p:nvSpPr>
        <p:spPr bwMode="auto">
          <a:xfrm>
            <a:off x="3140953" y="4986325"/>
            <a:ext cx="1438275" cy="5262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762000" eaLnBrk="0" hangingPunct="0">
              <a:lnSpc>
                <a:spcPct val="85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200" dirty="0">
                <a:solidFill>
                  <a:srgbClr val="333333"/>
                </a:solidFill>
              </a:rPr>
              <a:t>Angry Birds </a:t>
            </a:r>
            <a:r>
              <a:rPr lang="en-US" sz="1200" dirty="0" smtClean="0">
                <a:solidFill>
                  <a:srgbClr val="333333"/>
                </a:solidFill>
              </a:rPr>
              <a:t/>
            </a:r>
            <a:br>
              <a:rPr lang="en-US" sz="1200" dirty="0" smtClean="0">
                <a:solidFill>
                  <a:srgbClr val="333333"/>
                </a:solidFill>
              </a:rPr>
            </a:br>
            <a:r>
              <a:rPr lang="en-US" sz="1200" dirty="0" smtClean="0">
                <a:solidFill>
                  <a:srgbClr val="333333"/>
                </a:solidFill>
              </a:rPr>
              <a:t>on </a:t>
            </a:r>
            <a:r>
              <a:rPr lang="en-US" sz="1200" dirty="0">
                <a:solidFill>
                  <a:srgbClr val="333333"/>
                </a:solidFill>
              </a:rPr>
              <a:t>iPhone</a:t>
            </a:r>
          </a:p>
          <a:p>
            <a:pPr defTabSz="762000" eaLnBrk="0" hangingPunct="0">
              <a:lnSpc>
                <a:spcPct val="85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200" b="1" dirty="0">
                <a:solidFill>
                  <a:srgbClr val="000000"/>
                </a:solidFill>
              </a:rPr>
              <a:t>No Advertising</a:t>
            </a:r>
          </a:p>
        </p:txBody>
      </p:sp>
      <p:sp>
        <p:nvSpPr>
          <p:cNvPr id="45" name="AutoShape 5"/>
          <p:cNvSpPr>
            <a:spLocks noChangeArrowheads="1"/>
          </p:cNvSpPr>
          <p:nvPr/>
        </p:nvSpPr>
        <p:spPr bwMode="auto">
          <a:xfrm>
            <a:off x="8050533" y="3242389"/>
            <a:ext cx="2878138" cy="1261725"/>
          </a:xfrm>
          <a:prstGeom prst="roundRect">
            <a:avLst>
              <a:gd name="adj" fmla="val 14249"/>
            </a:avLst>
          </a:prstGeom>
          <a:gradFill rotWithShape="1">
            <a:gsLst>
              <a:gs pos="0">
                <a:srgbClr val="A14FBA"/>
              </a:gs>
              <a:gs pos="60000">
                <a:srgbClr val="7F10A2"/>
              </a:gs>
            </a:gsLst>
            <a:lin ang="5400000" scaled="1"/>
          </a:gradFill>
          <a:ln w="28575" algn="ctr">
            <a:solidFill>
              <a:srgbClr val="7F10A2"/>
            </a:solidFill>
            <a:miter lim="800000"/>
            <a:headEnd/>
            <a:tailEnd/>
          </a:ln>
        </p:spPr>
        <p:txBody>
          <a:bodyPr/>
          <a:lstStyle/>
          <a:p>
            <a:pPr defTabSz="762000">
              <a:lnSpc>
                <a:spcPct val="85000"/>
              </a:lnSpc>
              <a:buClr>
                <a:srgbClr val="FFAF00"/>
              </a:buClr>
              <a:buSzPct val="110000"/>
              <a:defRPr/>
            </a:pPr>
            <a:r>
              <a:rPr lang="en-US" sz="1600" dirty="0">
                <a:solidFill>
                  <a:srgbClr val="FFFFFF"/>
                </a:solidFill>
              </a:rPr>
              <a:t>Overall, the Angry Birds application itself creates manageable amounts of network and data traffic</a:t>
            </a:r>
            <a:br>
              <a:rPr lang="en-US" sz="1600" dirty="0">
                <a:solidFill>
                  <a:srgbClr val="FFFFFF"/>
                </a:solidFill>
              </a:rPr>
            </a:b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46" name="Picture 4" descr="http://t1.gstatic.com/images?q=tbn:ANd9GcSjGTcGvEkyQTlkqqfWiwmQ_fDF0H8zDWofK-dz_B9h8a0HyzYCX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11513" y="1280356"/>
            <a:ext cx="2929723" cy="1861506"/>
          </a:xfrm>
          <a:prstGeom prst="roundRect">
            <a:avLst>
              <a:gd name="adj" fmla="val 9432"/>
            </a:avLst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7" name="Line 142"/>
          <p:cNvSpPr>
            <a:spLocks noChangeShapeType="1"/>
          </p:cNvSpPr>
          <p:nvPr/>
        </p:nvSpPr>
        <p:spPr bwMode="auto">
          <a:xfrm>
            <a:off x="1364537" y="4295821"/>
            <a:ext cx="605313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nl-BE"/>
          </a:p>
        </p:txBody>
      </p:sp>
      <p:sp>
        <p:nvSpPr>
          <p:cNvPr id="48" name="Line 143"/>
          <p:cNvSpPr>
            <a:spLocks noChangeShapeType="1"/>
          </p:cNvSpPr>
          <p:nvPr/>
        </p:nvSpPr>
        <p:spPr bwMode="auto">
          <a:xfrm>
            <a:off x="1364537" y="3714521"/>
            <a:ext cx="605313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nl-BE"/>
          </a:p>
        </p:txBody>
      </p:sp>
      <p:sp>
        <p:nvSpPr>
          <p:cNvPr id="49" name="Line 144"/>
          <p:cNvSpPr>
            <a:spLocks noChangeShapeType="1"/>
          </p:cNvSpPr>
          <p:nvPr/>
        </p:nvSpPr>
        <p:spPr bwMode="auto">
          <a:xfrm>
            <a:off x="1364537" y="3116420"/>
            <a:ext cx="605313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nl-BE"/>
          </a:p>
        </p:txBody>
      </p:sp>
      <p:sp>
        <p:nvSpPr>
          <p:cNvPr id="50" name="Line 145"/>
          <p:cNvSpPr>
            <a:spLocks noChangeShapeType="1"/>
          </p:cNvSpPr>
          <p:nvPr/>
        </p:nvSpPr>
        <p:spPr bwMode="auto">
          <a:xfrm>
            <a:off x="1364537" y="2519999"/>
            <a:ext cx="605313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nl-BE"/>
          </a:p>
        </p:txBody>
      </p:sp>
      <p:sp>
        <p:nvSpPr>
          <p:cNvPr id="51" name="Rectangle 163"/>
          <p:cNvSpPr>
            <a:spLocks noChangeArrowheads="1"/>
          </p:cNvSpPr>
          <p:nvPr/>
        </p:nvSpPr>
        <p:spPr bwMode="auto">
          <a:xfrm>
            <a:off x="1139816" y="4798161"/>
            <a:ext cx="91371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400">
                <a:solidFill>
                  <a:srgbClr val="68717A"/>
                </a:solidFill>
              </a:rPr>
              <a:t>0</a:t>
            </a:r>
          </a:p>
        </p:txBody>
      </p:sp>
      <p:sp>
        <p:nvSpPr>
          <p:cNvPr id="52" name="Rectangle 164"/>
          <p:cNvSpPr>
            <a:spLocks noChangeArrowheads="1"/>
          </p:cNvSpPr>
          <p:nvPr/>
        </p:nvSpPr>
        <p:spPr bwMode="auto">
          <a:xfrm>
            <a:off x="957076" y="4201739"/>
            <a:ext cx="274113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400">
                <a:solidFill>
                  <a:srgbClr val="68717A"/>
                </a:solidFill>
              </a:rPr>
              <a:t>800</a:t>
            </a:r>
          </a:p>
        </p:txBody>
      </p:sp>
      <p:sp>
        <p:nvSpPr>
          <p:cNvPr id="54" name="Rectangle 165"/>
          <p:cNvSpPr>
            <a:spLocks noChangeArrowheads="1"/>
          </p:cNvSpPr>
          <p:nvPr/>
        </p:nvSpPr>
        <p:spPr bwMode="auto">
          <a:xfrm>
            <a:off x="865704" y="3608678"/>
            <a:ext cx="365485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400">
                <a:solidFill>
                  <a:srgbClr val="68717A"/>
                </a:solidFill>
              </a:rPr>
              <a:t>1600</a:t>
            </a:r>
          </a:p>
        </p:txBody>
      </p:sp>
      <p:sp>
        <p:nvSpPr>
          <p:cNvPr id="56" name="Rectangle 166"/>
          <p:cNvSpPr>
            <a:spLocks noChangeArrowheads="1"/>
          </p:cNvSpPr>
          <p:nvPr/>
        </p:nvSpPr>
        <p:spPr bwMode="auto">
          <a:xfrm>
            <a:off x="865704" y="3013938"/>
            <a:ext cx="365485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400">
                <a:solidFill>
                  <a:srgbClr val="68717A"/>
                </a:solidFill>
              </a:rPr>
              <a:t>2400</a:t>
            </a:r>
          </a:p>
        </p:txBody>
      </p:sp>
      <p:sp>
        <p:nvSpPr>
          <p:cNvPr id="57" name="Rectangle 167"/>
          <p:cNvSpPr>
            <a:spLocks noChangeArrowheads="1"/>
          </p:cNvSpPr>
          <p:nvPr/>
        </p:nvSpPr>
        <p:spPr bwMode="auto">
          <a:xfrm>
            <a:off x="865704" y="2419196"/>
            <a:ext cx="365485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400">
                <a:solidFill>
                  <a:srgbClr val="68717A"/>
                </a:solidFill>
              </a:rPr>
              <a:t>3600</a:t>
            </a:r>
          </a:p>
        </p:txBody>
      </p:sp>
      <p:sp>
        <p:nvSpPr>
          <p:cNvPr id="58" name="Rectangle 168"/>
          <p:cNvSpPr>
            <a:spLocks noChangeArrowheads="1"/>
          </p:cNvSpPr>
          <p:nvPr/>
        </p:nvSpPr>
        <p:spPr bwMode="auto">
          <a:xfrm>
            <a:off x="774334" y="1851338"/>
            <a:ext cx="456855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r" defTabSz="762000" eaLnBrk="0" hangingPunct="0">
              <a:lnSpc>
                <a:spcPct val="90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400">
                <a:solidFill>
                  <a:srgbClr val="68717A"/>
                </a:solidFill>
              </a:rPr>
              <a:t>40000</a:t>
            </a:r>
          </a:p>
        </p:txBody>
      </p:sp>
      <p:sp>
        <p:nvSpPr>
          <p:cNvPr id="59" name="Rectangle 170"/>
          <p:cNvSpPr>
            <a:spLocks noChangeArrowheads="1"/>
          </p:cNvSpPr>
          <p:nvPr/>
        </p:nvSpPr>
        <p:spPr bwMode="auto">
          <a:xfrm rot="16200000">
            <a:off x="-916008" y="3237418"/>
            <a:ext cx="2966984" cy="18466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762000" eaLnBrk="0" hangingPunct="0">
              <a:lnSpc>
                <a:spcPct val="75000"/>
              </a:lnSpc>
              <a:buClr>
                <a:srgbClr val="FFD308"/>
              </a:buClr>
            </a:pPr>
            <a:r>
              <a:rPr lang="en-US" sz="1600" dirty="0">
                <a:solidFill>
                  <a:schemeClr val="bg2">
                    <a:lumMod val="50000"/>
                  </a:schemeClr>
                </a:solidFill>
              </a:rPr>
              <a:t>Number of signals sent</a:t>
            </a:r>
          </a:p>
        </p:txBody>
      </p:sp>
      <p:sp>
        <p:nvSpPr>
          <p:cNvPr id="60" name="Line 146"/>
          <p:cNvSpPr>
            <a:spLocks noChangeShapeType="1"/>
          </p:cNvSpPr>
          <p:nvPr/>
        </p:nvSpPr>
        <p:spPr bwMode="auto">
          <a:xfrm>
            <a:off x="1364537" y="1960539"/>
            <a:ext cx="6053138" cy="0"/>
          </a:xfrm>
          <a:prstGeom prst="line">
            <a:avLst/>
          </a:prstGeom>
          <a:noFill/>
          <a:ln w="12700">
            <a:solidFill>
              <a:schemeClr val="bg1"/>
            </a:solidFill>
            <a:round/>
            <a:headEnd/>
            <a:tailEnd/>
          </a:ln>
        </p:spPr>
        <p:txBody>
          <a:bodyPr/>
          <a:lstStyle/>
          <a:p>
            <a:endParaRPr lang="nl-BE"/>
          </a:p>
        </p:txBody>
      </p:sp>
      <p:sp>
        <p:nvSpPr>
          <p:cNvPr id="61" name="Rectangle 153"/>
          <p:cNvSpPr>
            <a:spLocks noChangeArrowheads="1"/>
          </p:cNvSpPr>
          <p:nvPr/>
        </p:nvSpPr>
        <p:spPr bwMode="auto">
          <a:xfrm>
            <a:off x="4761789" y="3047538"/>
            <a:ext cx="842963" cy="1849744"/>
          </a:xfrm>
          <a:prstGeom prst="round2SameRect">
            <a:avLst/>
          </a:prstGeom>
          <a:gradFill>
            <a:gsLst>
              <a:gs pos="0">
                <a:srgbClr val="FFC64B"/>
              </a:gs>
              <a:gs pos="60000">
                <a:srgbClr val="FFAF00"/>
              </a:gs>
            </a:gsLst>
            <a:lin ang="5400000" scaled="1"/>
          </a:gradFill>
          <a:ln w="28575" algn="ctr">
            <a:solidFill>
              <a:srgbClr val="FFAF00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fi-FI" sz="1600" b="1">
              <a:solidFill>
                <a:srgbClr val="FFFFFF"/>
              </a:solidFill>
            </a:endParaRPr>
          </a:p>
        </p:txBody>
      </p:sp>
      <p:sp>
        <p:nvSpPr>
          <p:cNvPr id="62" name="Rectangle 161"/>
          <p:cNvSpPr>
            <a:spLocks noChangeArrowheads="1"/>
          </p:cNvSpPr>
          <p:nvPr/>
        </p:nvSpPr>
        <p:spPr bwMode="auto">
          <a:xfrm>
            <a:off x="1721726" y="4492390"/>
            <a:ext cx="842963" cy="404894"/>
          </a:xfrm>
          <a:prstGeom prst="round2SameRect">
            <a:avLst>
              <a:gd name="adj1" fmla="val 26626"/>
              <a:gd name="adj2" fmla="val 0"/>
            </a:avLst>
          </a:prstGeom>
          <a:gradFill rotWithShape="1">
            <a:gsLst>
              <a:gs pos="0">
                <a:srgbClr val="ACB3B9"/>
              </a:gs>
              <a:gs pos="60000">
                <a:srgbClr val="89929B"/>
              </a:gs>
            </a:gsLst>
            <a:lin ang="5400000" scaled="1"/>
          </a:gradFill>
          <a:ln w="28575" algn="ctr">
            <a:solidFill>
              <a:srgbClr val="89929B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fi-FI" sz="1600" b="1">
              <a:solidFill>
                <a:srgbClr val="FFFFFF"/>
              </a:solidFill>
            </a:endParaRPr>
          </a:p>
        </p:txBody>
      </p:sp>
      <p:sp>
        <p:nvSpPr>
          <p:cNvPr id="63" name="Rectangle 169"/>
          <p:cNvSpPr>
            <a:spLocks noChangeArrowheads="1"/>
          </p:cNvSpPr>
          <p:nvPr/>
        </p:nvSpPr>
        <p:spPr bwMode="auto">
          <a:xfrm>
            <a:off x="1758237" y="4537751"/>
            <a:ext cx="768350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762000" eaLnBrk="0" hangingPunct="0">
              <a:lnSpc>
                <a:spcPct val="90000"/>
              </a:lnSpc>
              <a:buClr>
                <a:srgbClr val="FFD308"/>
              </a:buClr>
            </a:pPr>
            <a:r>
              <a:rPr lang="en-US" sz="1400" b="1" dirty="0">
                <a:solidFill>
                  <a:srgbClr val="FFFFFF"/>
                </a:solidFill>
              </a:rPr>
              <a:t>688</a:t>
            </a:r>
          </a:p>
        </p:txBody>
      </p:sp>
      <p:sp>
        <p:nvSpPr>
          <p:cNvPr id="64" name="Rectangle 169"/>
          <p:cNvSpPr>
            <a:spLocks noChangeArrowheads="1"/>
          </p:cNvSpPr>
          <p:nvPr/>
        </p:nvSpPr>
        <p:spPr bwMode="auto">
          <a:xfrm>
            <a:off x="4803063" y="3087861"/>
            <a:ext cx="766764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762000" eaLnBrk="0" hangingPunct="0">
              <a:lnSpc>
                <a:spcPct val="90000"/>
              </a:lnSpc>
              <a:buClr>
                <a:srgbClr val="FFD308"/>
              </a:buClr>
            </a:pPr>
            <a:r>
              <a:rPr lang="en-US" sz="1400" b="1" dirty="0">
                <a:solidFill>
                  <a:srgbClr val="333333"/>
                </a:solidFill>
              </a:rPr>
              <a:t>2422</a:t>
            </a:r>
          </a:p>
        </p:txBody>
      </p:sp>
      <p:cxnSp>
        <p:nvCxnSpPr>
          <p:cNvPr id="65" name="Straight Connector 64"/>
          <p:cNvCxnSpPr/>
          <p:nvPr/>
        </p:nvCxnSpPr>
        <p:spPr bwMode="auto">
          <a:xfrm flipV="1">
            <a:off x="2563102" y="4393266"/>
            <a:ext cx="892175" cy="97443"/>
          </a:xfrm>
          <a:prstGeom prst="line">
            <a:avLst/>
          </a:prstGeom>
          <a:ln w="28575">
            <a:solidFill>
              <a:schemeClr val="accent4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6" name="Rectangle 169"/>
          <p:cNvSpPr>
            <a:spLocks noChangeArrowheads="1"/>
          </p:cNvSpPr>
          <p:nvPr/>
        </p:nvSpPr>
        <p:spPr bwMode="auto">
          <a:xfrm>
            <a:off x="3404475" y="3934609"/>
            <a:ext cx="768350" cy="3877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762000" eaLnBrk="0" hangingPunct="0">
              <a:lnSpc>
                <a:spcPct val="90000"/>
              </a:lnSpc>
              <a:buClr>
                <a:srgbClr val="FFD308"/>
              </a:buClr>
            </a:pPr>
            <a:r>
              <a:rPr lang="en-US" sz="1400" b="1">
                <a:solidFill>
                  <a:srgbClr val="7030A0"/>
                </a:solidFill>
              </a:rPr>
              <a:t>8% increase</a:t>
            </a:r>
          </a:p>
        </p:txBody>
      </p:sp>
      <p:cxnSp>
        <p:nvCxnSpPr>
          <p:cNvPr id="67" name="Straight Connector 66"/>
          <p:cNvCxnSpPr>
            <a:endCxn id="64" idx="1"/>
          </p:cNvCxnSpPr>
          <p:nvPr/>
        </p:nvCxnSpPr>
        <p:spPr bwMode="auto">
          <a:xfrm flipV="1">
            <a:off x="2547225" y="3184811"/>
            <a:ext cx="2255838" cy="1322700"/>
          </a:xfrm>
          <a:prstGeom prst="line">
            <a:avLst/>
          </a:prstGeom>
          <a:ln w="28575">
            <a:solidFill>
              <a:schemeClr val="accent4"/>
            </a:solidFill>
            <a:prstDash val="dash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8" name="Line 147"/>
          <p:cNvSpPr>
            <a:spLocks noChangeShapeType="1"/>
          </p:cNvSpPr>
          <p:nvPr/>
        </p:nvSpPr>
        <p:spPr bwMode="auto">
          <a:xfrm>
            <a:off x="1364537" y="4915763"/>
            <a:ext cx="6053138" cy="0"/>
          </a:xfrm>
          <a:prstGeom prst="line">
            <a:avLst/>
          </a:prstGeom>
          <a:ln w="19050">
            <a:solidFill>
              <a:schemeClr val="bg2"/>
            </a:solidFill>
            <a:headEnd/>
            <a:tailEnd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/>
          <a:lstStyle/>
          <a:p>
            <a:pPr>
              <a:defRPr/>
            </a:pPr>
            <a:endParaRPr lang="fi-FI">
              <a:solidFill>
                <a:srgbClr val="000000"/>
              </a:solidFill>
            </a:endParaRPr>
          </a:p>
        </p:txBody>
      </p:sp>
      <p:sp>
        <p:nvSpPr>
          <p:cNvPr id="69" name="Rectangle 153"/>
          <p:cNvSpPr>
            <a:spLocks noChangeArrowheads="1"/>
          </p:cNvSpPr>
          <p:nvPr/>
        </p:nvSpPr>
        <p:spPr bwMode="auto">
          <a:xfrm>
            <a:off x="6227052" y="2069743"/>
            <a:ext cx="841375" cy="2849380"/>
          </a:xfrm>
          <a:prstGeom prst="round2SameRect">
            <a:avLst/>
          </a:prstGeom>
          <a:gradFill rotWithShape="1">
            <a:gsLst>
              <a:gs pos="0">
                <a:srgbClr val="C64B6E"/>
              </a:gs>
              <a:gs pos="60000">
                <a:srgbClr val="AF0033"/>
              </a:gs>
            </a:gsLst>
            <a:lin ang="5400000" scaled="1"/>
          </a:gradFill>
          <a:ln w="28575" algn="ctr">
            <a:solidFill>
              <a:srgbClr val="AF0033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fi-FI" sz="1600" b="1">
              <a:solidFill>
                <a:srgbClr val="FFFFFF"/>
              </a:solidFill>
            </a:endParaRPr>
          </a:p>
        </p:txBody>
      </p:sp>
      <p:sp>
        <p:nvSpPr>
          <p:cNvPr id="70" name="Rectangle 169"/>
          <p:cNvSpPr>
            <a:spLocks noChangeArrowheads="1"/>
          </p:cNvSpPr>
          <p:nvPr/>
        </p:nvSpPr>
        <p:spPr bwMode="auto">
          <a:xfrm>
            <a:off x="6265150" y="2105026"/>
            <a:ext cx="766762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762000" eaLnBrk="0" hangingPunct="0">
              <a:lnSpc>
                <a:spcPct val="90000"/>
              </a:lnSpc>
              <a:buClr>
                <a:srgbClr val="FFD308"/>
              </a:buClr>
            </a:pPr>
            <a:r>
              <a:rPr lang="en-US" sz="1400" b="1">
                <a:solidFill>
                  <a:srgbClr val="FFFFFF"/>
                </a:solidFill>
              </a:rPr>
              <a:t>3996</a:t>
            </a:r>
          </a:p>
        </p:txBody>
      </p:sp>
      <p:sp>
        <p:nvSpPr>
          <p:cNvPr id="71" name="Rectangle 153"/>
          <p:cNvSpPr>
            <a:spLocks noChangeArrowheads="1"/>
          </p:cNvSpPr>
          <p:nvPr/>
        </p:nvSpPr>
        <p:spPr bwMode="auto">
          <a:xfrm>
            <a:off x="3339390" y="4366384"/>
            <a:ext cx="842963" cy="527538"/>
          </a:xfrm>
          <a:prstGeom prst="round2SameRect">
            <a:avLst>
              <a:gd name="adj1" fmla="val 22400"/>
              <a:gd name="adj2" fmla="val 0"/>
            </a:avLst>
          </a:prstGeom>
          <a:gradFill rotWithShape="1">
            <a:gsLst>
              <a:gs pos="0">
                <a:srgbClr val="A14FBA"/>
              </a:gs>
              <a:gs pos="60000">
                <a:srgbClr val="7F10A2"/>
              </a:gs>
            </a:gsLst>
            <a:lin ang="5400000" scaled="1"/>
          </a:gradFill>
          <a:ln w="28575" algn="ctr">
            <a:solidFill>
              <a:srgbClr val="7F10A2"/>
            </a:solidFill>
            <a:miter lim="800000"/>
            <a:headEnd/>
            <a:tailEnd/>
          </a:ln>
        </p:spPr>
        <p:txBody>
          <a:bodyPr/>
          <a:lstStyle/>
          <a:p>
            <a:pPr algn="ctr">
              <a:defRPr/>
            </a:pPr>
            <a:endParaRPr lang="fi-FI" sz="1600" b="1">
              <a:solidFill>
                <a:srgbClr val="FFFFFF"/>
              </a:solidFill>
            </a:endParaRPr>
          </a:p>
        </p:txBody>
      </p:sp>
      <p:sp>
        <p:nvSpPr>
          <p:cNvPr id="72" name="Rectangle 169"/>
          <p:cNvSpPr>
            <a:spLocks noChangeArrowheads="1"/>
          </p:cNvSpPr>
          <p:nvPr/>
        </p:nvSpPr>
        <p:spPr bwMode="auto">
          <a:xfrm>
            <a:off x="3369551" y="4415107"/>
            <a:ext cx="766762" cy="1938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defTabSz="762000" eaLnBrk="0" hangingPunct="0">
              <a:lnSpc>
                <a:spcPct val="90000"/>
              </a:lnSpc>
              <a:buClr>
                <a:srgbClr val="FFD308"/>
              </a:buClr>
            </a:pPr>
            <a:r>
              <a:rPr lang="en-US" sz="1400" b="1" dirty="0">
                <a:solidFill>
                  <a:srgbClr val="FFFFFF"/>
                </a:solidFill>
              </a:rPr>
              <a:t>742</a:t>
            </a:r>
          </a:p>
        </p:txBody>
      </p:sp>
      <p:sp>
        <p:nvSpPr>
          <p:cNvPr id="73" name="Rectangle 169"/>
          <p:cNvSpPr>
            <a:spLocks noChangeArrowheads="1"/>
          </p:cNvSpPr>
          <p:nvPr/>
        </p:nvSpPr>
        <p:spPr bwMode="auto">
          <a:xfrm>
            <a:off x="6217526" y="4979606"/>
            <a:ext cx="1254921" cy="5262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762000" eaLnBrk="0" hangingPunct="0">
              <a:lnSpc>
                <a:spcPct val="85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200" dirty="0">
                <a:solidFill>
                  <a:srgbClr val="333333"/>
                </a:solidFill>
              </a:rPr>
              <a:t>Smartphone online poker</a:t>
            </a:r>
          </a:p>
          <a:p>
            <a:pPr defTabSz="762000" eaLnBrk="0" hangingPunct="0">
              <a:lnSpc>
                <a:spcPct val="85000"/>
              </a:lnSpc>
              <a:spcBef>
                <a:spcPct val="30000"/>
              </a:spcBef>
              <a:buClr>
                <a:srgbClr val="FFD308"/>
              </a:buClr>
            </a:pPr>
            <a:r>
              <a:rPr lang="en-US" sz="1200" b="1" dirty="0">
                <a:solidFill>
                  <a:srgbClr val="000000"/>
                </a:solidFill>
              </a:rPr>
              <a:t>No Advertising</a:t>
            </a:r>
          </a:p>
        </p:txBody>
      </p:sp>
      <p:grpSp>
        <p:nvGrpSpPr>
          <p:cNvPr id="2" name="Group 73"/>
          <p:cNvGrpSpPr/>
          <p:nvPr/>
        </p:nvGrpSpPr>
        <p:grpSpPr>
          <a:xfrm>
            <a:off x="3937163" y="1933819"/>
            <a:ext cx="1255713" cy="995874"/>
            <a:chOff x="3915649" y="1743226"/>
            <a:chExt cx="1255713" cy="941010"/>
          </a:xfrm>
        </p:grpSpPr>
        <p:sp>
          <p:nvSpPr>
            <p:cNvPr id="75" name="Freeform 290"/>
            <p:cNvSpPr>
              <a:spLocks/>
            </p:cNvSpPr>
            <p:nvPr/>
          </p:nvSpPr>
          <p:spPr bwMode="auto">
            <a:xfrm>
              <a:off x="3915649" y="1743226"/>
              <a:ext cx="1255713" cy="941010"/>
            </a:xfrm>
            <a:custGeom>
              <a:avLst/>
              <a:gdLst/>
              <a:ahLst/>
              <a:cxnLst>
                <a:cxn ang="0">
                  <a:pos x="343" y="156"/>
                </a:cxn>
                <a:cxn ang="0">
                  <a:pos x="343" y="45"/>
                </a:cxn>
                <a:cxn ang="0">
                  <a:pos x="298" y="0"/>
                </a:cxn>
                <a:cxn ang="0">
                  <a:pos x="45" y="0"/>
                </a:cxn>
                <a:cxn ang="0">
                  <a:pos x="0" y="45"/>
                </a:cxn>
                <a:cxn ang="0">
                  <a:pos x="0" y="156"/>
                </a:cxn>
                <a:cxn ang="0">
                  <a:pos x="45" y="201"/>
                </a:cxn>
                <a:cxn ang="0">
                  <a:pos x="248" y="201"/>
                </a:cxn>
                <a:cxn ang="0">
                  <a:pos x="339" y="255"/>
                </a:cxn>
                <a:cxn ang="0">
                  <a:pos x="339" y="256"/>
                </a:cxn>
                <a:cxn ang="0">
                  <a:pos x="341" y="257"/>
                </a:cxn>
                <a:cxn ang="0">
                  <a:pos x="343" y="255"/>
                </a:cxn>
                <a:cxn ang="0">
                  <a:pos x="343" y="156"/>
                </a:cxn>
              </a:cxnLst>
              <a:rect l="0" t="0" r="r" b="b"/>
              <a:pathLst>
                <a:path w="343" h="257">
                  <a:moveTo>
                    <a:pt x="343" y="156"/>
                  </a:moveTo>
                  <a:cubicBezTo>
                    <a:pt x="343" y="45"/>
                    <a:pt x="343" y="45"/>
                    <a:pt x="343" y="45"/>
                  </a:cubicBezTo>
                  <a:cubicBezTo>
                    <a:pt x="343" y="20"/>
                    <a:pt x="322" y="0"/>
                    <a:pt x="298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20" y="0"/>
                    <a:pt x="0" y="20"/>
                    <a:pt x="0" y="45"/>
                  </a:cubicBezTo>
                  <a:cubicBezTo>
                    <a:pt x="0" y="156"/>
                    <a:pt x="0" y="156"/>
                    <a:pt x="0" y="156"/>
                  </a:cubicBezTo>
                  <a:cubicBezTo>
                    <a:pt x="0" y="181"/>
                    <a:pt x="20" y="201"/>
                    <a:pt x="45" y="201"/>
                  </a:cubicBezTo>
                  <a:cubicBezTo>
                    <a:pt x="248" y="201"/>
                    <a:pt x="248" y="201"/>
                    <a:pt x="248" y="201"/>
                  </a:cubicBezTo>
                  <a:cubicBezTo>
                    <a:pt x="286" y="201"/>
                    <a:pt x="321" y="222"/>
                    <a:pt x="339" y="255"/>
                  </a:cubicBezTo>
                  <a:cubicBezTo>
                    <a:pt x="339" y="256"/>
                    <a:pt x="339" y="256"/>
                    <a:pt x="339" y="256"/>
                  </a:cubicBezTo>
                  <a:cubicBezTo>
                    <a:pt x="340" y="256"/>
                    <a:pt x="340" y="257"/>
                    <a:pt x="341" y="257"/>
                  </a:cubicBezTo>
                  <a:cubicBezTo>
                    <a:pt x="342" y="257"/>
                    <a:pt x="343" y="256"/>
                    <a:pt x="343" y="255"/>
                  </a:cubicBezTo>
                  <a:lnTo>
                    <a:pt x="343" y="156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6FD56E"/>
                </a:gs>
                <a:gs pos="60000">
                  <a:srgbClr val="34C333"/>
                </a:gs>
              </a:gsLst>
              <a:lin ang="5400000" scaled="1"/>
              <a:tileRect/>
            </a:gradFill>
            <a:ln w="28575">
              <a:solidFill>
                <a:srgbClr val="34C333"/>
              </a:solidFill>
              <a:round/>
              <a:headEnd/>
              <a:tailEnd/>
            </a:ln>
          </p:spPr>
          <p:txBody>
            <a:bodyPr anchor="ctr"/>
            <a:lstStyle/>
            <a:p>
              <a:pPr algn="ctr">
                <a:defRPr/>
              </a:pPr>
              <a:endParaRPr lang="fi-FI" sz="2000" b="1">
                <a:solidFill>
                  <a:schemeClr val="bg2">
                    <a:lumMod val="50000"/>
                  </a:schemeClr>
                </a:solidFill>
                <a:latin typeface="+mj-lt"/>
                <a:ea typeface="ＭＳ Ｐゴシック" pitchFamily="34" charset="-128"/>
              </a:endParaRPr>
            </a:p>
          </p:txBody>
        </p:sp>
        <p:sp>
          <p:nvSpPr>
            <p:cNvPr id="76" name="Rectangle 169"/>
            <p:cNvSpPr>
              <a:spLocks noChangeArrowheads="1"/>
            </p:cNvSpPr>
            <p:nvPr/>
          </p:nvSpPr>
          <p:spPr bwMode="auto">
            <a:xfrm>
              <a:off x="4048073" y="1847198"/>
              <a:ext cx="950510" cy="47113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762000" eaLnBrk="0" hangingPunct="0">
                <a:lnSpc>
                  <a:spcPct val="90000"/>
                </a:lnSpc>
                <a:buClr>
                  <a:srgbClr val="FFD308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352% increase</a:t>
              </a:r>
              <a:endParaRPr lang="en-US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5163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019" name="Freeform 85"/>
          <p:cNvSpPr>
            <a:spLocks noChangeArrowheads="1"/>
          </p:cNvSpPr>
          <p:nvPr/>
        </p:nvSpPr>
        <p:spPr bwMode="auto">
          <a:xfrm rot="30545">
            <a:off x="2289175" y="1503653"/>
            <a:ext cx="6616700" cy="677063"/>
          </a:xfrm>
          <a:custGeom>
            <a:avLst/>
            <a:gdLst>
              <a:gd name="T0" fmla="*/ 672712 w 5136380"/>
              <a:gd name="T1" fmla="*/ 0 h 758172"/>
              <a:gd name="T2" fmla="*/ 7076757 w 5136380"/>
              <a:gd name="T3" fmla="*/ 208378 h 758172"/>
              <a:gd name="T4" fmla="*/ 15131619 w 5136380"/>
              <a:gd name="T5" fmla="*/ 23590 h 758172"/>
              <a:gd name="T6" fmla="*/ 15188543 w 5136380"/>
              <a:gd name="T7" fmla="*/ 62906 h 758172"/>
              <a:gd name="T8" fmla="*/ 7048293 w 5136380"/>
              <a:gd name="T9" fmla="*/ 290944 h 758172"/>
              <a:gd name="T10" fmla="*/ 0 w 5136380"/>
              <a:gd name="T11" fmla="*/ 175406 h 758172"/>
              <a:gd name="T12" fmla="*/ 672712 w 5136380"/>
              <a:gd name="T13" fmla="*/ 0 h 7581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136380"/>
              <a:gd name="T22" fmla="*/ 0 h 758172"/>
              <a:gd name="T23" fmla="*/ 5136380 w 5136380"/>
              <a:gd name="T24" fmla="*/ 758172 h 75817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136380" h="758172">
                <a:moveTo>
                  <a:pt x="227495" y="0"/>
                </a:moveTo>
                <a:cubicBezTo>
                  <a:pt x="594859" y="110691"/>
                  <a:pt x="1578241" y="500514"/>
                  <a:pt x="2393180" y="510139"/>
                </a:cubicBezTo>
                <a:cubicBezTo>
                  <a:pt x="3208119" y="519764"/>
                  <a:pt x="4704847" y="152401"/>
                  <a:pt x="5117129" y="57752"/>
                </a:cubicBezTo>
                <a:lnTo>
                  <a:pt x="5136380" y="154003"/>
                </a:lnTo>
                <a:cubicBezTo>
                  <a:pt x="4690409" y="242235"/>
                  <a:pt x="3239617" y="666366"/>
                  <a:pt x="2383554" y="712269"/>
                </a:cubicBezTo>
                <a:cubicBezTo>
                  <a:pt x="1527491" y="758172"/>
                  <a:pt x="359343" y="548132"/>
                  <a:pt x="0" y="429420"/>
                </a:cubicBezTo>
                <a:lnTo>
                  <a:pt x="227495" y="0"/>
                </a:lnTo>
                <a:close/>
              </a:path>
            </a:pathLst>
          </a:custGeom>
          <a:gradFill rotWithShape="1">
            <a:gsLst>
              <a:gs pos="0">
                <a:srgbClr val="FF8200"/>
              </a:gs>
              <a:gs pos="100000">
                <a:srgbClr val="FFCC00"/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20" name="Freeform 85"/>
          <p:cNvSpPr>
            <a:spLocks noChangeArrowheads="1"/>
          </p:cNvSpPr>
          <p:nvPr/>
        </p:nvSpPr>
        <p:spPr bwMode="auto">
          <a:xfrm rot="68642">
            <a:off x="2203450" y="1401170"/>
            <a:ext cx="6616700" cy="677064"/>
          </a:xfrm>
          <a:custGeom>
            <a:avLst/>
            <a:gdLst>
              <a:gd name="T0" fmla="*/ 672712 w 5136380"/>
              <a:gd name="T1" fmla="*/ 0 h 758172"/>
              <a:gd name="T2" fmla="*/ 7076757 w 5136380"/>
              <a:gd name="T3" fmla="*/ 208380 h 758172"/>
              <a:gd name="T4" fmla="*/ 15131619 w 5136380"/>
              <a:gd name="T5" fmla="*/ 23590 h 758172"/>
              <a:gd name="T6" fmla="*/ 15188543 w 5136380"/>
              <a:gd name="T7" fmla="*/ 62906 h 758172"/>
              <a:gd name="T8" fmla="*/ 7048293 w 5136380"/>
              <a:gd name="T9" fmla="*/ 290945 h 758172"/>
              <a:gd name="T10" fmla="*/ 0 w 5136380"/>
              <a:gd name="T11" fmla="*/ 175408 h 758172"/>
              <a:gd name="T12" fmla="*/ 672712 w 5136380"/>
              <a:gd name="T13" fmla="*/ 0 h 7581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136380"/>
              <a:gd name="T22" fmla="*/ 0 h 758172"/>
              <a:gd name="T23" fmla="*/ 5136380 w 5136380"/>
              <a:gd name="T24" fmla="*/ 758172 h 75817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136380" h="758172">
                <a:moveTo>
                  <a:pt x="227495" y="0"/>
                </a:moveTo>
                <a:cubicBezTo>
                  <a:pt x="594859" y="110691"/>
                  <a:pt x="1578241" y="500514"/>
                  <a:pt x="2393180" y="510139"/>
                </a:cubicBezTo>
                <a:cubicBezTo>
                  <a:pt x="3208119" y="519764"/>
                  <a:pt x="4704847" y="152401"/>
                  <a:pt x="5117129" y="57752"/>
                </a:cubicBezTo>
                <a:lnTo>
                  <a:pt x="5136380" y="154003"/>
                </a:lnTo>
                <a:cubicBezTo>
                  <a:pt x="4690409" y="242235"/>
                  <a:pt x="3239617" y="666366"/>
                  <a:pt x="2383554" y="712269"/>
                </a:cubicBezTo>
                <a:cubicBezTo>
                  <a:pt x="1527491" y="758172"/>
                  <a:pt x="359343" y="548132"/>
                  <a:pt x="0" y="429420"/>
                </a:cubicBezTo>
                <a:lnTo>
                  <a:pt x="227495" y="0"/>
                </a:lnTo>
                <a:close/>
              </a:path>
            </a:pathLst>
          </a:custGeom>
          <a:gradFill rotWithShape="1">
            <a:gsLst>
              <a:gs pos="0">
                <a:srgbClr val="A3A6AD">
                  <a:alpha val="70000"/>
                </a:srgbClr>
              </a:gs>
              <a:gs pos="100000">
                <a:srgbClr val="C8CACE">
                  <a:alpha val="49001"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21" name="AutoShape 42"/>
          <p:cNvSpPr>
            <a:spLocks noChangeArrowheads="1"/>
          </p:cNvSpPr>
          <p:nvPr/>
        </p:nvSpPr>
        <p:spPr bwMode="auto">
          <a:xfrm>
            <a:off x="593725" y="1498612"/>
            <a:ext cx="2441575" cy="4509278"/>
          </a:xfrm>
          <a:prstGeom prst="roundRect">
            <a:avLst>
              <a:gd name="adj" fmla="val 8583"/>
            </a:avLst>
          </a:prstGeom>
          <a:gradFill rotWithShape="1">
            <a:gsLst>
              <a:gs pos="0">
                <a:srgbClr val="C8CACE"/>
              </a:gs>
              <a:gs pos="100000">
                <a:srgbClr val="A3A6AD"/>
              </a:gs>
            </a:gsLst>
            <a:lin ang="5400000" scaled="1"/>
          </a:gradFill>
          <a:ln w="28575">
            <a:solidFill>
              <a:srgbClr val="A3A6AD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endParaRPr lang="en-US" sz="160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pic>
        <p:nvPicPr>
          <p:cNvPr id="86023" name="Picture 21" descr="machineorang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98525" y="5172902"/>
            <a:ext cx="685800" cy="719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024" name="Picture 21" descr="machineorang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4875" y="4299271"/>
            <a:ext cx="685800" cy="719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025" name="Picture 21" descr="machineorang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23926" y="3297956"/>
            <a:ext cx="677863" cy="710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6026" name="Picture 21" descr="machineorange.png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04875" y="2330242"/>
            <a:ext cx="685800" cy="719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6027" name="Rectangle 49"/>
          <p:cNvSpPr>
            <a:spLocks noChangeArrowheads="1"/>
          </p:cNvSpPr>
          <p:nvPr/>
        </p:nvSpPr>
        <p:spPr bwMode="auto">
          <a:xfrm flipH="1">
            <a:off x="595313" y="1985830"/>
            <a:ext cx="2284412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r>
              <a:rPr lang="en-GB" sz="1400">
                <a:ea typeface="MS PGothic" charset="0"/>
                <a:cs typeface="MS PGothic" charset="0"/>
              </a:rPr>
              <a:t>Core network elements</a:t>
            </a:r>
            <a:endParaRPr lang="en-US">
              <a:ea typeface="MS PGothic" charset="0"/>
              <a:cs typeface="MS PGothic" charset="0"/>
            </a:endParaRPr>
          </a:p>
        </p:txBody>
      </p:sp>
      <p:sp>
        <p:nvSpPr>
          <p:cNvPr id="86028" name="AutoShape 42"/>
          <p:cNvSpPr>
            <a:spLocks noChangeArrowheads="1"/>
          </p:cNvSpPr>
          <p:nvPr/>
        </p:nvSpPr>
        <p:spPr bwMode="auto">
          <a:xfrm>
            <a:off x="585788" y="1333967"/>
            <a:ext cx="2438400" cy="635062"/>
          </a:xfrm>
          <a:prstGeom prst="roundRect">
            <a:avLst>
              <a:gd name="adj" fmla="val 14116"/>
            </a:avLst>
          </a:prstGeom>
          <a:gradFill rotWithShape="1">
            <a:gsLst>
              <a:gs pos="0">
                <a:srgbClr val="FFCC00"/>
              </a:gs>
              <a:gs pos="100000">
                <a:srgbClr val="FF8200"/>
              </a:gs>
            </a:gsLst>
            <a:lin ang="5400000" scaled="1"/>
          </a:gradFill>
          <a:ln w="28575">
            <a:solidFill>
              <a:srgbClr val="FF8200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rgbClr val="FFCC00"/>
              </a:buClr>
              <a:buSzPct val="110000"/>
            </a:pPr>
            <a:endParaRPr lang="en-US" sz="160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6029" name="Text Box 256"/>
          <p:cNvSpPr txBox="1">
            <a:spLocks noChangeArrowheads="1"/>
          </p:cNvSpPr>
          <p:nvPr/>
        </p:nvSpPr>
        <p:spPr bwMode="auto">
          <a:xfrm>
            <a:off x="609601" y="1352448"/>
            <a:ext cx="1903413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sz="1600" b="1" dirty="0">
                <a:ea typeface="ＭＳ Ｐゴシック" charset="0"/>
                <a:cs typeface="ＭＳ Ｐゴシック" charset="0"/>
              </a:rPr>
              <a:t>Network element </a:t>
            </a:r>
            <a:r>
              <a:rPr lang="en-US" sz="1600" b="1" dirty="0" smtClean="0">
                <a:ea typeface="ＭＳ Ｐゴシック" charset="0"/>
                <a:cs typeface="ＭＳ Ｐゴシック" charset="0"/>
              </a:rPr>
              <a:t>with different SW</a:t>
            </a:r>
            <a:endParaRPr lang="en-US" sz="1600" b="1" dirty="0">
              <a:ea typeface="ＭＳ Ｐゴシック" charset="0"/>
              <a:cs typeface="ＭＳ Ｐゴシック" charset="0"/>
            </a:endParaRPr>
          </a:p>
        </p:txBody>
      </p:sp>
      <p:grpSp>
        <p:nvGrpSpPr>
          <p:cNvPr id="86030" name="Group 93"/>
          <p:cNvGrpSpPr>
            <a:grpSpLocks/>
          </p:cNvGrpSpPr>
          <p:nvPr/>
        </p:nvGrpSpPr>
        <p:grpSpPr bwMode="auto">
          <a:xfrm>
            <a:off x="2535239" y="1520454"/>
            <a:ext cx="331787" cy="277209"/>
            <a:chOff x="2153687" y="1455738"/>
            <a:chExt cx="331788" cy="261938"/>
          </a:xfrm>
        </p:grpSpPr>
        <p:sp>
          <p:nvSpPr>
            <p:cNvPr id="86166" name="Rectangle 1144"/>
            <p:cNvSpPr>
              <a:spLocks noChangeArrowheads="1"/>
            </p:cNvSpPr>
            <p:nvPr/>
          </p:nvSpPr>
          <p:spPr bwMode="auto">
            <a:xfrm>
              <a:off x="2309262" y="1631951"/>
              <a:ext cx="15875" cy="714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67" name="Freeform 1145"/>
            <p:cNvSpPr>
              <a:spLocks/>
            </p:cNvSpPr>
            <p:nvPr/>
          </p:nvSpPr>
          <p:spPr bwMode="auto">
            <a:xfrm>
              <a:off x="2177499" y="1455738"/>
              <a:ext cx="282576" cy="185738"/>
            </a:xfrm>
            <a:custGeom>
              <a:avLst/>
              <a:gdLst>
                <a:gd name="T0" fmla="*/ 2147483647 w 377"/>
                <a:gd name="T1" fmla="*/ 0 h 246"/>
                <a:gd name="T2" fmla="*/ 2147483647 w 377"/>
                <a:gd name="T3" fmla="*/ 0 h 246"/>
                <a:gd name="T4" fmla="*/ 0 w 377"/>
                <a:gd name="T5" fmla="*/ 2147483647 h 246"/>
                <a:gd name="T6" fmla="*/ 0 w 377"/>
                <a:gd name="T7" fmla="*/ 2147483647 h 246"/>
                <a:gd name="T8" fmla="*/ 2147483647 w 377"/>
                <a:gd name="T9" fmla="*/ 2147483647 h 246"/>
                <a:gd name="T10" fmla="*/ 2147483647 w 377"/>
                <a:gd name="T11" fmla="*/ 2147483647 h 246"/>
                <a:gd name="T12" fmla="*/ 2147483647 w 377"/>
                <a:gd name="T13" fmla="*/ 2147483647 h 246"/>
                <a:gd name="T14" fmla="*/ 2147483647 w 377"/>
                <a:gd name="T15" fmla="*/ 2147483647 h 246"/>
                <a:gd name="T16" fmla="*/ 2147483647 w 377"/>
                <a:gd name="T17" fmla="*/ 0 h 24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7"/>
                <a:gd name="T28" fmla="*/ 0 h 246"/>
                <a:gd name="T29" fmla="*/ 377 w 377"/>
                <a:gd name="T30" fmla="*/ 246 h 24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7" h="246">
                  <a:moveTo>
                    <a:pt x="357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8"/>
                    <a:pt x="9" y="246"/>
                    <a:pt x="20" y="246"/>
                  </a:cubicBezTo>
                  <a:cubicBezTo>
                    <a:pt x="357" y="246"/>
                    <a:pt x="357" y="246"/>
                    <a:pt x="357" y="246"/>
                  </a:cubicBezTo>
                  <a:cubicBezTo>
                    <a:pt x="368" y="246"/>
                    <a:pt x="377" y="238"/>
                    <a:pt x="377" y="227"/>
                  </a:cubicBezTo>
                  <a:cubicBezTo>
                    <a:pt x="377" y="20"/>
                    <a:pt x="377" y="20"/>
                    <a:pt x="377" y="20"/>
                  </a:cubicBezTo>
                  <a:cubicBezTo>
                    <a:pt x="377" y="9"/>
                    <a:pt x="368" y="0"/>
                    <a:pt x="357" y="0"/>
                  </a:cubicBezTo>
                </a:path>
              </a:pathLst>
            </a:custGeom>
            <a:solidFill>
              <a:srgbClr val="FFAF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68" name="Freeform 1146"/>
            <p:cNvSpPr>
              <a:spLocks/>
            </p:cNvSpPr>
            <p:nvPr/>
          </p:nvSpPr>
          <p:spPr bwMode="auto">
            <a:xfrm>
              <a:off x="2185437" y="1463675"/>
              <a:ext cx="268288" cy="169864"/>
            </a:xfrm>
            <a:custGeom>
              <a:avLst/>
              <a:gdLst>
                <a:gd name="T0" fmla="*/ 0 w 357"/>
                <a:gd name="T1" fmla="*/ 0 h 227"/>
                <a:gd name="T2" fmla="*/ 0 w 357"/>
                <a:gd name="T3" fmla="*/ 0 h 227"/>
                <a:gd name="T4" fmla="*/ 0 w 357"/>
                <a:gd name="T5" fmla="*/ 2147483647 h 227"/>
                <a:gd name="T6" fmla="*/ 0 w 357"/>
                <a:gd name="T7" fmla="*/ 2147483647 h 227"/>
                <a:gd name="T8" fmla="*/ 2147483647 w 357"/>
                <a:gd name="T9" fmla="*/ 2147483647 h 227"/>
                <a:gd name="T10" fmla="*/ 2147483647 w 357"/>
                <a:gd name="T11" fmla="*/ 2147483647 h 227"/>
                <a:gd name="T12" fmla="*/ 2147483647 w 357"/>
                <a:gd name="T13" fmla="*/ 0 h 227"/>
                <a:gd name="T14" fmla="*/ 2147483647 w 357"/>
                <a:gd name="T15" fmla="*/ 0 h 227"/>
                <a:gd name="T16" fmla="*/ 0 w 357"/>
                <a:gd name="T17" fmla="*/ 0 h 2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7"/>
                <a:gd name="T28" fmla="*/ 0 h 227"/>
                <a:gd name="T29" fmla="*/ 357 w 357"/>
                <a:gd name="T30" fmla="*/ 227 h 2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7" h="227">
                  <a:moveTo>
                    <a:pt x="10" y="0"/>
                  </a:moveTo>
                  <a:cubicBezTo>
                    <a:pt x="4" y="0"/>
                    <a:pt x="0" y="5"/>
                    <a:pt x="0" y="11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2"/>
                    <a:pt x="4" y="227"/>
                    <a:pt x="10" y="227"/>
                  </a:cubicBezTo>
                  <a:cubicBezTo>
                    <a:pt x="346" y="227"/>
                    <a:pt x="346" y="227"/>
                    <a:pt x="346" y="227"/>
                  </a:cubicBezTo>
                  <a:cubicBezTo>
                    <a:pt x="352" y="227"/>
                    <a:pt x="357" y="222"/>
                    <a:pt x="357" y="216"/>
                  </a:cubicBezTo>
                  <a:cubicBezTo>
                    <a:pt x="357" y="11"/>
                    <a:pt x="357" y="11"/>
                    <a:pt x="357" y="11"/>
                  </a:cubicBezTo>
                  <a:cubicBezTo>
                    <a:pt x="357" y="5"/>
                    <a:pt x="352" y="0"/>
                    <a:pt x="346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69" name="Freeform 1147"/>
            <p:cNvSpPr>
              <a:spLocks/>
            </p:cNvSpPr>
            <p:nvPr/>
          </p:nvSpPr>
          <p:spPr bwMode="auto">
            <a:xfrm>
              <a:off x="2156862" y="1681164"/>
              <a:ext cx="325438" cy="33337"/>
            </a:xfrm>
            <a:custGeom>
              <a:avLst/>
              <a:gdLst>
                <a:gd name="T0" fmla="*/ 2147483647 w 435"/>
                <a:gd name="T1" fmla="*/ 0 h 44"/>
                <a:gd name="T2" fmla="*/ 2147483647 w 435"/>
                <a:gd name="T3" fmla="*/ 0 h 44"/>
                <a:gd name="T4" fmla="*/ 0 w 435"/>
                <a:gd name="T5" fmla="*/ 2147483647 h 44"/>
                <a:gd name="T6" fmla="*/ 0 w 435"/>
                <a:gd name="T7" fmla="*/ 2147483647 h 44"/>
                <a:gd name="T8" fmla="*/ 2147483647 w 435"/>
                <a:gd name="T9" fmla="*/ 2147483647 h 44"/>
                <a:gd name="T10" fmla="*/ 2147483647 w 435"/>
                <a:gd name="T11" fmla="*/ 0 h 44"/>
                <a:gd name="T12" fmla="*/ 2147483647 w 435"/>
                <a:gd name="T13" fmla="*/ 0 h 44"/>
                <a:gd name="T14" fmla="*/ 2147483647 w 435"/>
                <a:gd name="T15" fmla="*/ 0 h 4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5"/>
                <a:gd name="T25" fmla="*/ 0 h 44"/>
                <a:gd name="T26" fmla="*/ 435 w 435"/>
                <a:gd name="T27" fmla="*/ 44 h 4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5" h="44">
                  <a:moveTo>
                    <a:pt x="51" y="0"/>
                  </a:moveTo>
                  <a:cubicBezTo>
                    <a:pt x="41" y="0"/>
                    <a:pt x="35" y="4"/>
                    <a:pt x="32" y="8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435" y="44"/>
                    <a:pt x="435" y="44"/>
                    <a:pt x="435" y="44"/>
                  </a:cubicBezTo>
                  <a:cubicBezTo>
                    <a:pt x="401" y="8"/>
                    <a:pt x="401" y="8"/>
                    <a:pt x="401" y="8"/>
                  </a:cubicBezTo>
                  <a:cubicBezTo>
                    <a:pt x="398" y="4"/>
                    <a:pt x="393" y="0"/>
                    <a:pt x="382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70" name="Freeform 1148"/>
            <p:cNvSpPr>
              <a:spLocks noEditPoints="1"/>
            </p:cNvSpPr>
            <p:nvPr/>
          </p:nvSpPr>
          <p:spPr bwMode="auto">
            <a:xfrm>
              <a:off x="2153687" y="1681164"/>
              <a:ext cx="331788" cy="36512"/>
            </a:xfrm>
            <a:custGeom>
              <a:avLst/>
              <a:gdLst>
                <a:gd name="T0" fmla="*/ 2147483647 w 443"/>
                <a:gd name="T1" fmla="*/ 0 h 48"/>
                <a:gd name="T2" fmla="*/ 2147483647 w 443"/>
                <a:gd name="T3" fmla="*/ 0 h 48"/>
                <a:gd name="T4" fmla="*/ 2147483647 w 443"/>
                <a:gd name="T5" fmla="*/ 0 h 48"/>
                <a:gd name="T6" fmla="*/ 0 w 443"/>
                <a:gd name="T7" fmla="*/ 2147483647 h 48"/>
                <a:gd name="T8" fmla="*/ 0 w 443"/>
                <a:gd name="T9" fmla="*/ 2147483647 h 48"/>
                <a:gd name="T10" fmla="*/ 0 w 443"/>
                <a:gd name="T11" fmla="*/ 2147483647 h 48"/>
                <a:gd name="T12" fmla="*/ 0 w 443"/>
                <a:gd name="T13" fmla="*/ 2147483647 h 48"/>
                <a:gd name="T14" fmla="*/ 2147483647 w 443"/>
                <a:gd name="T15" fmla="*/ 2147483647 h 48"/>
                <a:gd name="T16" fmla="*/ 2147483647 w 443"/>
                <a:gd name="T17" fmla="*/ 2147483647 h 48"/>
                <a:gd name="T18" fmla="*/ 2147483647 w 443"/>
                <a:gd name="T19" fmla="*/ 2147483647 h 48"/>
                <a:gd name="T20" fmla="*/ 2147483647 w 443"/>
                <a:gd name="T21" fmla="*/ 0 h 48"/>
                <a:gd name="T22" fmla="*/ 2147483647 w 443"/>
                <a:gd name="T23" fmla="*/ 0 h 48"/>
                <a:gd name="T24" fmla="*/ 2147483647 w 443"/>
                <a:gd name="T25" fmla="*/ 2147483647 h 48"/>
                <a:gd name="T26" fmla="*/ 2147483647 w 443"/>
                <a:gd name="T27" fmla="*/ 0 h 48"/>
                <a:gd name="T28" fmla="*/ 2147483647 w 443"/>
                <a:gd name="T29" fmla="*/ 0 h 48"/>
                <a:gd name="T30" fmla="*/ 2147483647 w 443"/>
                <a:gd name="T31" fmla="*/ 0 h 48"/>
                <a:gd name="T32" fmla="*/ 2147483647 w 443"/>
                <a:gd name="T33" fmla="*/ 0 h 48"/>
                <a:gd name="T34" fmla="*/ 2147483647 w 443"/>
                <a:gd name="T35" fmla="*/ 0 h 48"/>
                <a:gd name="T36" fmla="*/ 2147483647 w 443"/>
                <a:gd name="T37" fmla="*/ 0 h 48"/>
                <a:gd name="T38" fmla="*/ 2147483647 w 443"/>
                <a:gd name="T39" fmla="*/ 0 h 48"/>
                <a:gd name="T40" fmla="*/ 2147483647 w 443"/>
                <a:gd name="T41" fmla="*/ 0 h 48"/>
                <a:gd name="T42" fmla="*/ 2147483647 w 443"/>
                <a:gd name="T43" fmla="*/ 2147483647 h 48"/>
                <a:gd name="T44" fmla="*/ 2147483647 w 443"/>
                <a:gd name="T45" fmla="*/ 2147483647 h 48"/>
                <a:gd name="T46" fmla="*/ 2147483647 w 443"/>
                <a:gd name="T47" fmla="*/ 2147483647 h 48"/>
                <a:gd name="T48" fmla="*/ 2147483647 w 443"/>
                <a:gd name="T49" fmla="*/ 2147483647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43"/>
                <a:gd name="T76" fmla="*/ 0 h 48"/>
                <a:gd name="T77" fmla="*/ 443 w 443"/>
                <a:gd name="T78" fmla="*/ 48 h 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43" h="48">
                  <a:moveTo>
                    <a:pt x="389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36" y="3"/>
                    <a:pt x="33" y="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2" y="48"/>
                    <a:pt x="4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38" y="48"/>
                    <a:pt x="438" y="48"/>
                    <a:pt x="438" y="48"/>
                  </a:cubicBezTo>
                  <a:cubicBezTo>
                    <a:pt x="441" y="48"/>
                    <a:pt x="443" y="47"/>
                    <a:pt x="443" y="46"/>
                  </a:cubicBezTo>
                  <a:cubicBezTo>
                    <a:pt x="443" y="42"/>
                    <a:pt x="443" y="42"/>
                    <a:pt x="443" y="42"/>
                  </a:cubicBezTo>
                  <a:cubicBezTo>
                    <a:pt x="409" y="7"/>
                    <a:pt x="409" y="7"/>
                    <a:pt x="409" y="7"/>
                  </a:cubicBezTo>
                  <a:cubicBezTo>
                    <a:pt x="406" y="3"/>
                    <a:pt x="400" y="0"/>
                    <a:pt x="389" y="0"/>
                  </a:cubicBezTo>
                  <a:moveTo>
                    <a:pt x="17" y="41"/>
                  </a:move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52" y="4"/>
                    <a:pt x="57" y="4"/>
                    <a:pt x="59" y="4"/>
                  </a:cubicBezTo>
                  <a:cubicBezTo>
                    <a:pt x="383" y="4"/>
                    <a:pt x="383" y="4"/>
                    <a:pt x="383" y="4"/>
                  </a:cubicBezTo>
                  <a:cubicBezTo>
                    <a:pt x="385" y="4"/>
                    <a:pt x="389" y="4"/>
                    <a:pt x="393" y="9"/>
                  </a:cubicBezTo>
                  <a:cubicBezTo>
                    <a:pt x="393" y="9"/>
                    <a:pt x="393" y="9"/>
                    <a:pt x="393" y="9"/>
                  </a:cubicBezTo>
                  <a:cubicBezTo>
                    <a:pt x="393" y="9"/>
                    <a:pt x="393" y="9"/>
                    <a:pt x="393" y="9"/>
                  </a:cubicBezTo>
                  <a:cubicBezTo>
                    <a:pt x="425" y="41"/>
                    <a:pt x="425" y="41"/>
                    <a:pt x="425" y="41"/>
                  </a:cubicBezTo>
                  <a:cubicBezTo>
                    <a:pt x="425" y="44"/>
                    <a:pt x="425" y="44"/>
                    <a:pt x="425" y="44"/>
                  </a:cubicBezTo>
                  <a:cubicBezTo>
                    <a:pt x="17" y="44"/>
                    <a:pt x="17" y="44"/>
                    <a:pt x="17" y="44"/>
                  </a:cubicBezTo>
                  <a:lnTo>
                    <a:pt x="17" y="41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71" name="Freeform 1149"/>
            <p:cNvSpPr>
              <a:spLocks noEditPoints="1"/>
            </p:cNvSpPr>
            <p:nvPr/>
          </p:nvSpPr>
          <p:spPr bwMode="auto">
            <a:xfrm>
              <a:off x="2191787" y="1471613"/>
              <a:ext cx="254001" cy="153988"/>
            </a:xfrm>
            <a:custGeom>
              <a:avLst/>
              <a:gdLst>
                <a:gd name="T0" fmla="*/ 2147483647 w 338"/>
                <a:gd name="T1" fmla="*/ 0 h 206"/>
                <a:gd name="T2" fmla="*/ 0 w 338"/>
                <a:gd name="T3" fmla="*/ 0 h 206"/>
                <a:gd name="T4" fmla="*/ 0 w 338"/>
                <a:gd name="T5" fmla="*/ 0 h 206"/>
                <a:gd name="T6" fmla="*/ 0 w 338"/>
                <a:gd name="T7" fmla="*/ 2147483647 h 206"/>
                <a:gd name="T8" fmla="*/ 0 w 338"/>
                <a:gd name="T9" fmla="*/ 2147483647 h 206"/>
                <a:gd name="T10" fmla="*/ 2147483647 w 338"/>
                <a:gd name="T11" fmla="*/ 2147483647 h 206"/>
                <a:gd name="T12" fmla="*/ 2147483647 w 338"/>
                <a:gd name="T13" fmla="*/ 2147483647 h 206"/>
                <a:gd name="T14" fmla="*/ 2147483647 w 338"/>
                <a:gd name="T15" fmla="*/ 0 h 206"/>
                <a:gd name="T16" fmla="*/ 2147483647 w 338"/>
                <a:gd name="T17" fmla="*/ 0 h 206"/>
                <a:gd name="T18" fmla="*/ 2147483647 w 338"/>
                <a:gd name="T19" fmla="*/ 2147483647 h 206"/>
                <a:gd name="T20" fmla="*/ 2147483647 w 338"/>
                <a:gd name="T21" fmla="*/ 2147483647 h 206"/>
                <a:gd name="T22" fmla="*/ 2147483647 w 338"/>
                <a:gd name="T23" fmla="*/ 2147483647 h 206"/>
                <a:gd name="T24" fmla="*/ 0 w 338"/>
                <a:gd name="T25" fmla="*/ 2147483647 h 206"/>
                <a:gd name="T26" fmla="*/ 0 w 338"/>
                <a:gd name="T27" fmla="*/ 2147483647 h 206"/>
                <a:gd name="T28" fmla="*/ 2147483647 w 338"/>
                <a:gd name="T29" fmla="*/ 0 h 206"/>
                <a:gd name="T30" fmla="*/ 2147483647 w 338"/>
                <a:gd name="T31" fmla="*/ 0 h 206"/>
                <a:gd name="T32" fmla="*/ 2147483647 w 338"/>
                <a:gd name="T33" fmla="*/ 2147483647 h 206"/>
                <a:gd name="T34" fmla="*/ 2147483647 w 338"/>
                <a:gd name="T35" fmla="*/ 2147483647 h 2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8"/>
                <a:gd name="T55" fmla="*/ 0 h 206"/>
                <a:gd name="T56" fmla="*/ 338 w 338"/>
                <a:gd name="T57" fmla="*/ 206 h 2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8" h="206">
                  <a:moveTo>
                    <a:pt x="32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2"/>
                    <a:pt x="5" y="206"/>
                    <a:pt x="10" y="206"/>
                  </a:cubicBezTo>
                  <a:cubicBezTo>
                    <a:pt x="329" y="206"/>
                    <a:pt x="329" y="206"/>
                    <a:pt x="329" y="206"/>
                  </a:cubicBezTo>
                  <a:cubicBezTo>
                    <a:pt x="334" y="206"/>
                    <a:pt x="338" y="202"/>
                    <a:pt x="338" y="197"/>
                  </a:cubicBezTo>
                  <a:cubicBezTo>
                    <a:pt x="338" y="9"/>
                    <a:pt x="338" y="9"/>
                    <a:pt x="338" y="9"/>
                  </a:cubicBezTo>
                  <a:cubicBezTo>
                    <a:pt x="338" y="4"/>
                    <a:pt x="334" y="0"/>
                    <a:pt x="329" y="0"/>
                  </a:cubicBezTo>
                  <a:moveTo>
                    <a:pt x="329" y="189"/>
                  </a:moveTo>
                  <a:cubicBezTo>
                    <a:pt x="329" y="194"/>
                    <a:pt x="325" y="198"/>
                    <a:pt x="320" y="198"/>
                  </a:cubicBezTo>
                  <a:cubicBezTo>
                    <a:pt x="18" y="198"/>
                    <a:pt x="18" y="198"/>
                    <a:pt x="18" y="198"/>
                  </a:cubicBezTo>
                  <a:cubicBezTo>
                    <a:pt x="13" y="198"/>
                    <a:pt x="9" y="194"/>
                    <a:pt x="9" y="18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13" y="9"/>
                    <a:pt x="18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5" y="9"/>
                    <a:pt x="329" y="13"/>
                    <a:pt x="329" y="18"/>
                  </a:cubicBezTo>
                  <a:lnTo>
                    <a:pt x="329" y="189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86031" name="Group 74"/>
          <p:cNvGrpSpPr>
            <a:grpSpLocks/>
          </p:cNvGrpSpPr>
          <p:nvPr/>
        </p:nvGrpSpPr>
        <p:grpSpPr bwMode="auto">
          <a:xfrm>
            <a:off x="620714" y="2415925"/>
            <a:ext cx="279400" cy="3348357"/>
            <a:chOff x="908" y="1478"/>
            <a:chExt cx="176" cy="1993"/>
          </a:xfrm>
        </p:grpSpPr>
        <p:cxnSp>
          <p:nvCxnSpPr>
            <p:cNvPr id="86163" name="Straight Connector 25"/>
            <p:cNvCxnSpPr>
              <a:cxnSpLocks noChangeShapeType="1"/>
              <a:stCxn id="86164" idx="2"/>
              <a:endCxn id="86165" idx="0"/>
            </p:cNvCxnSpPr>
            <p:nvPr/>
          </p:nvCxnSpPr>
          <p:spPr bwMode="auto">
            <a:xfrm flipH="1">
              <a:off x="996" y="1661"/>
              <a:ext cx="1" cy="1627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prstDash val="sysDot"/>
              <a:round/>
              <a:headEnd/>
              <a:tailEnd/>
            </a:ln>
          </p:spPr>
        </p:cxnSp>
        <p:sp>
          <p:nvSpPr>
            <p:cNvPr id="86164" name="TextBox 36"/>
            <p:cNvSpPr txBox="1">
              <a:spLocks noChangeArrowheads="1"/>
            </p:cNvSpPr>
            <p:nvPr/>
          </p:nvSpPr>
          <p:spPr bwMode="auto">
            <a:xfrm>
              <a:off x="910" y="1478"/>
              <a:ext cx="174" cy="1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GB" sz="1400">
                  <a:ea typeface="MS PGothic" charset="0"/>
                  <a:cs typeface="MS PGothic" charset="0"/>
                </a:rPr>
                <a:t>1</a:t>
              </a:r>
              <a:endParaRPr lang="en-GB" sz="1400">
                <a:solidFill>
                  <a:srgbClr val="666666"/>
                </a:solidFill>
                <a:ea typeface="MS PGothic" charset="0"/>
                <a:cs typeface="MS PGothic" charset="0"/>
              </a:endParaRPr>
            </a:p>
          </p:txBody>
        </p:sp>
        <p:sp>
          <p:nvSpPr>
            <p:cNvPr id="86165" name="TextBox 38"/>
            <p:cNvSpPr txBox="1">
              <a:spLocks noChangeArrowheads="1"/>
            </p:cNvSpPr>
            <p:nvPr/>
          </p:nvSpPr>
          <p:spPr bwMode="auto">
            <a:xfrm>
              <a:off x="908" y="3288"/>
              <a:ext cx="176" cy="18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pPr algn="r"/>
              <a:r>
                <a:rPr lang="en-GB" sz="1400">
                  <a:ea typeface="MS PGothic" charset="0"/>
                  <a:cs typeface="MS PGothic" charset="0"/>
                </a:rPr>
                <a:t>n</a:t>
              </a:r>
              <a:endParaRPr lang="en-GB" sz="1400">
                <a:solidFill>
                  <a:srgbClr val="666666"/>
                </a:solidFill>
                <a:ea typeface="MS PGothic" charset="0"/>
                <a:cs typeface="MS PGothic" charset="0"/>
              </a:endParaRPr>
            </a:p>
          </p:txBody>
        </p:sp>
      </p:grpSp>
      <p:sp>
        <p:nvSpPr>
          <p:cNvPr id="86032" name="Freeform 229"/>
          <p:cNvSpPr>
            <a:spLocks/>
          </p:cNvSpPr>
          <p:nvPr/>
        </p:nvSpPr>
        <p:spPr bwMode="auto">
          <a:xfrm rot="-69313">
            <a:off x="2032000" y="2441126"/>
            <a:ext cx="6311900" cy="719065"/>
          </a:xfrm>
          <a:custGeom>
            <a:avLst/>
            <a:gdLst>
              <a:gd name="T0" fmla="*/ 0 w 5046673"/>
              <a:gd name="T1" fmla="*/ 24278 h 836563"/>
              <a:gd name="T2" fmla="*/ 6223269 w 5046673"/>
              <a:gd name="T3" fmla="*/ 240380 h 836563"/>
              <a:gd name="T4" fmla="*/ 13582536 w 5046673"/>
              <a:gd name="T5" fmla="*/ 52853 h 836563"/>
              <a:gd name="T6" fmla="*/ 13634545 w 5046673"/>
              <a:gd name="T7" fmla="*/ 92752 h 836563"/>
              <a:gd name="T8" fmla="*/ 6197263 w 5046673"/>
              <a:gd name="T9" fmla="*/ 324169 h 836563"/>
              <a:gd name="T10" fmla="*/ 268245 w 5046673"/>
              <a:gd name="T11" fmla="*/ 228411 h 836563"/>
              <a:gd name="T12" fmla="*/ 0 w 5046673"/>
              <a:gd name="T13" fmla="*/ 24278 h 83656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046673"/>
              <a:gd name="T22" fmla="*/ 0 h 836563"/>
              <a:gd name="T23" fmla="*/ 5046673 w 5046673"/>
              <a:gd name="T24" fmla="*/ 836563 h 83656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046673" h="836563">
                <a:moveTo>
                  <a:pt x="0" y="58567"/>
                </a:moveTo>
                <a:cubicBezTo>
                  <a:pt x="367364" y="169258"/>
                  <a:pt x="1465569" y="568401"/>
                  <a:pt x="2303473" y="579890"/>
                </a:cubicBezTo>
                <a:cubicBezTo>
                  <a:pt x="3141377" y="591379"/>
                  <a:pt x="4624562" y="0"/>
                  <a:pt x="5027422" y="127503"/>
                </a:cubicBezTo>
                <a:lnTo>
                  <a:pt x="5046673" y="223754"/>
                </a:lnTo>
                <a:cubicBezTo>
                  <a:pt x="4628970" y="49443"/>
                  <a:pt x="3118411" y="727477"/>
                  <a:pt x="2293847" y="782020"/>
                </a:cubicBezTo>
                <a:cubicBezTo>
                  <a:pt x="1469283" y="836563"/>
                  <a:pt x="458630" y="669726"/>
                  <a:pt x="99287" y="551014"/>
                </a:cubicBezTo>
                <a:lnTo>
                  <a:pt x="0" y="58567"/>
                </a:lnTo>
                <a:close/>
              </a:path>
            </a:pathLst>
          </a:custGeom>
          <a:gradFill rotWithShape="1">
            <a:gsLst>
              <a:gs pos="0">
                <a:srgbClr val="C8CACE"/>
              </a:gs>
              <a:gs pos="100000">
                <a:srgbClr val="A3A6AD">
                  <a:alpha val="50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33" name="Freeform 230"/>
          <p:cNvSpPr>
            <a:spLocks/>
          </p:cNvSpPr>
          <p:nvPr/>
        </p:nvSpPr>
        <p:spPr bwMode="auto">
          <a:xfrm rot="-508164">
            <a:off x="1947864" y="2945144"/>
            <a:ext cx="6353175" cy="708985"/>
          </a:xfrm>
          <a:custGeom>
            <a:avLst/>
            <a:gdLst>
              <a:gd name="T0" fmla="*/ 187593 w 5052253"/>
              <a:gd name="T1" fmla="*/ 24468 h 790272"/>
              <a:gd name="T2" fmla="*/ 5797928 w 5052253"/>
              <a:gd name="T3" fmla="*/ 261703 h 790272"/>
              <a:gd name="T4" fmla="*/ 13685983 w 5052253"/>
              <a:gd name="T5" fmla="*/ 66339 h 790272"/>
              <a:gd name="T6" fmla="*/ 13734495 w 5052253"/>
              <a:gd name="T7" fmla="*/ 98939 h 790272"/>
              <a:gd name="T8" fmla="*/ 5771760 w 5052253"/>
              <a:gd name="T9" fmla="*/ 361304 h 790272"/>
              <a:gd name="T10" fmla="*/ 0 w 5052253"/>
              <a:gd name="T11" fmla="*/ 267573 h 790272"/>
              <a:gd name="T12" fmla="*/ 187593 w 5052253"/>
              <a:gd name="T13" fmla="*/ 24468 h 7902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052253"/>
              <a:gd name="T22" fmla="*/ 0 h 790272"/>
              <a:gd name="T23" fmla="*/ 5052253 w 5052253"/>
              <a:gd name="T24" fmla="*/ 790272 h 79027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052253" h="790272">
                <a:moveTo>
                  <a:pt x="69006" y="49657"/>
                </a:moveTo>
                <a:cubicBezTo>
                  <a:pt x="436370" y="160348"/>
                  <a:pt x="1305208" y="516942"/>
                  <a:pt x="2132775" y="531104"/>
                </a:cubicBezTo>
                <a:cubicBezTo>
                  <a:pt x="2960342" y="545266"/>
                  <a:pt x="4657229" y="0"/>
                  <a:pt x="5034407" y="134629"/>
                </a:cubicBezTo>
                <a:lnTo>
                  <a:pt x="5052253" y="200789"/>
                </a:lnTo>
                <a:cubicBezTo>
                  <a:pt x="4762337" y="49673"/>
                  <a:pt x="2965191" y="676196"/>
                  <a:pt x="2123149" y="733234"/>
                </a:cubicBezTo>
                <a:cubicBezTo>
                  <a:pt x="1281107" y="790272"/>
                  <a:pt x="359343" y="661727"/>
                  <a:pt x="0" y="543015"/>
                </a:cubicBezTo>
                <a:lnTo>
                  <a:pt x="69006" y="49657"/>
                </a:lnTo>
                <a:close/>
              </a:path>
            </a:pathLst>
          </a:custGeom>
          <a:gradFill rotWithShape="1">
            <a:gsLst>
              <a:gs pos="0">
                <a:srgbClr val="C8CACE"/>
              </a:gs>
              <a:gs pos="100000">
                <a:srgbClr val="A3A6AD">
                  <a:alpha val="50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34" name="Freeform 232"/>
          <p:cNvSpPr>
            <a:spLocks/>
          </p:cNvSpPr>
          <p:nvPr/>
        </p:nvSpPr>
        <p:spPr bwMode="auto">
          <a:xfrm rot="-1331612">
            <a:off x="1531938" y="3558365"/>
            <a:ext cx="7740650" cy="1006356"/>
          </a:xfrm>
          <a:custGeom>
            <a:avLst/>
            <a:gdLst>
              <a:gd name="T0" fmla="*/ 777961 w 5933208"/>
              <a:gd name="T1" fmla="*/ 226318 h 1097028"/>
              <a:gd name="T2" fmla="*/ 7654514 w 5933208"/>
              <a:gd name="T3" fmla="*/ 450185 h 1097028"/>
              <a:gd name="T4" fmla="*/ 19904553 w 5933208"/>
              <a:gd name="T5" fmla="*/ 209683 h 1097028"/>
              <a:gd name="T6" fmla="*/ 19894404 w 5933208"/>
              <a:gd name="T7" fmla="*/ 259579 h 1097028"/>
              <a:gd name="T8" fmla="*/ 7622222 w 5933208"/>
              <a:gd name="T9" fmla="*/ 559004 h 1097028"/>
              <a:gd name="T10" fmla="*/ 0 w 5933208"/>
              <a:gd name="T11" fmla="*/ 449137 h 1097028"/>
              <a:gd name="T12" fmla="*/ 777961 w 5933208"/>
              <a:gd name="T13" fmla="*/ 226318 h 10970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933208"/>
              <a:gd name="T22" fmla="*/ 0 h 1097028"/>
              <a:gd name="T23" fmla="*/ 5933208 w 5933208"/>
              <a:gd name="T24" fmla="*/ 1097028 h 10970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933208" h="1097028">
                <a:moveTo>
                  <a:pt x="231897" y="420383"/>
                </a:moveTo>
                <a:cubicBezTo>
                  <a:pt x="599261" y="531074"/>
                  <a:pt x="1331462" y="841364"/>
                  <a:pt x="2281680" y="836214"/>
                </a:cubicBezTo>
                <a:cubicBezTo>
                  <a:pt x="3231898" y="831064"/>
                  <a:pt x="5627140" y="0"/>
                  <a:pt x="5933208" y="389482"/>
                </a:cubicBezTo>
                <a:cubicBezTo>
                  <a:pt x="5932200" y="420377"/>
                  <a:pt x="5931191" y="451271"/>
                  <a:pt x="5930183" y="482166"/>
                </a:cubicBezTo>
                <a:cubicBezTo>
                  <a:pt x="5693491" y="53984"/>
                  <a:pt x="3260418" y="979660"/>
                  <a:pt x="2272054" y="1038344"/>
                </a:cubicBezTo>
                <a:cubicBezTo>
                  <a:pt x="1283690" y="1097028"/>
                  <a:pt x="359343" y="952980"/>
                  <a:pt x="0" y="834268"/>
                </a:cubicBezTo>
                <a:lnTo>
                  <a:pt x="231897" y="420383"/>
                </a:lnTo>
                <a:close/>
              </a:path>
            </a:pathLst>
          </a:custGeom>
          <a:gradFill rotWithShape="1">
            <a:gsLst>
              <a:gs pos="0">
                <a:srgbClr val="C8CACE"/>
              </a:gs>
              <a:gs pos="100000">
                <a:srgbClr val="A3A6AD">
                  <a:alpha val="50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35" name="Freeform 230"/>
          <p:cNvSpPr>
            <a:spLocks/>
          </p:cNvSpPr>
          <p:nvPr/>
        </p:nvSpPr>
        <p:spPr bwMode="auto">
          <a:xfrm rot="-1089576">
            <a:off x="1905000" y="3430680"/>
            <a:ext cx="6656388" cy="735866"/>
          </a:xfrm>
          <a:custGeom>
            <a:avLst/>
            <a:gdLst>
              <a:gd name="T0" fmla="*/ 226052 w 5052253"/>
              <a:gd name="T1" fmla="*/ 28396 h 790272"/>
              <a:gd name="T2" fmla="*/ 6986570 w 5052253"/>
              <a:gd name="T3" fmla="*/ 303708 h 790272"/>
              <a:gd name="T4" fmla="*/ 16491768 w 5052253"/>
              <a:gd name="T5" fmla="*/ 76986 h 790272"/>
              <a:gd name="T6" fmla="*/ 16550229 w 5052253"/>
              <a:gd name="T7" fmla="*/ 114819 h 790272"/>
              <a:gd name="T8" fmla="*/ 6955037 w 5052253"/>
              <a:gd name="T9" fmla="*/ 419293 h 790272"/>
              <a:gd name="T10" fmla="*/ 0 w 5052253"/>
              <a:gd name="T11" fmla="*/ 310519 h 790272"/>
              <a:gd name="T12" fmla="*/ 226052 w 5052253"/>
              <a:gd name="T13" fmla="*/ 28396 h 7902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052253"/>
              <a:gd name="T22" fmla="*/ 0 h 790272"/>
              <a:gd name="T23" fmla="*/ 5052253 w 5052253"/>
              <a:gd name="T24" fmla="*/ 790272 h 79027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052253" h="790272">
                <a:moveTo>
                  <a:pt x="69006" y="49657"/>
                </a:moveTo>
                <a:cubicBezTo>
                  <a:pt x="436370" y="160348"/>
                  <a:pt x="1305208" y="516942"/>
                  <a:pt x="2132775" y="531104"/>
                </a:cubicBezTo>
                <a:cubicBezTo>
                  <a:pt x="2960342" y="545266"/>
                  <a:pt x="4657229" y="0"/>
                  <a:pt x="5034407" y="134629"/>
                </a:cubicBezTo>
                <a:lnTo>
                  <a:pt x="5052253" y="200789"/>
                </a:lnTo>
                <a:cubicBezTo>
                  <a:pt x="4762337" y="49673"/>
                  <a:pt x="2965191" y="676196"/>
                  <a:pt x="2123149" y="733234"/>
                </a:cubicBezTo>
                <a:cubicBezTo>
                  <a:pt x="1281107" y="790272"/>
                  <a:pt x="359343" y="661727"/>
                  <a:pt x="0" y="543015"/>
                </a:cubicBezTo>
                <a:lnTo>
                  <a:pt x="69006" y="49657"/>
                </a:lnTo>
                <a:close/>
              </a:path>
            </a:pathLst>
          </a:custGeom>
          <a:gradFill rotWithShape="1">
            <a:gsLst>
              <a:gs pos="0">
                <a:srgbClr val="C8CACE"/>
              </a:gs>
              <a:gs pos="100000">
                <a:srgbClr val="A3A6AD">
                  <a:alpha val="50000"/>
                </a:srgb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36" name="Freeform 229"/>
          <p:cNvSpPr>
            <a:spLocks/>
          </p:cNvSpPr>
          <p:nvPr/>
        </p:nvSpPr>
        <p:spPr bwMode="auto">
          <a:xfrm>
            <a:off x="1917700" y="2409204"/>
            <a:ext cx="6311900" cy="719065"/>
          </a:xfrm>
          <a:custGeom>
            <a:avLst/>
            <a:gdLst>
              <a:gd name="T0" fmla="*/ 0 w 5046673"/>
              <a:gd name="T1" fmla="*/ 24278 h 836563"/>
              <a:gd name="T2" fmla="*/ 6223269 w 5046673"/>
              <a:gd name="T3" fmla="*/ 240380 h 836563"/>
              <a:gd name="T4" fmla="*/ 13582536 w 5046673"/>
              <a:gd name="T5" fmla="*/ 52853 h 836563"/>
              <a:gd name="T6" fmla="*/ 13634545 w 5046673"/>
              <a:gd name="T7" fmla="*/ 92752 h 836563"/>
              <a:gd name="T8" fmla="*/ 6197263 w 5046673"/>
              <a:gd name="T9" fmla="*/ 324169 h 836563"/>
              <a:gd name="T10" fmla="*/ 268245 w 5046673"/>
              <a:gd name="T11" fmla="*/ 228411 h 836563"/>
              <a:gd name="T12" fmla="*/ 0 w 5046673"/>
              <a:gd name="T13" fmla="*/ 24278 h 83656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046673"/>
              <a:gd name="T22" fmla="*/ 0 h 836563"/>
              <a:gd name="T23" fmla="*/ 5046673 w 5046673"/>
              <a:gd name="T24" fmla="*/ 836563 h 83656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046673" h="836563">
                <a:moveTo>
                  <a:pt x="0" y="58567"/>
                </a:moveTo>
                <a:cubicBezTo>
                  <a:pt x="367364" y="169258"/>
                  <a:pt x="1465569" y="568401"/>
                  <a:pt x="2303473" y="579890"/>
                </a:cubicBezTo>
                <a:cubicBezTo>
                  <a:pt x="3141377" y="591379"/>
                  <a:pt x="4624562" y="0"/>
                  <a:pt x="5027422" y="127503"/>
                </a:cubicBezTo>
                <a:lnTo>
                  <a:pt x="5046673" y="223754"/>
                </a:lnTo>
                <a:cubicBezTo>
                  <a:pt x="4628970" y="49443"/>
                  <a:pt x="3118411" y="727477"/>
                  <a:pt x="2293847" y="782020"/>
                </a:cubicBezTo>
                <a:cubicBezTo>
                  <a:pt x="1469283" y="836563"/>
                  <a:pt x="458630" y="669726"/>
                  <a:pt x="99287" y="551014"/>
                </a:cubicBezTo>
                <a:lnTo>
                  <a:pt x="0" y="58567"/>
                </a:lnTo>
                <a:close/>
              </a:path>
            </a:pathLst>
          </a:custGeom>
          <a:gradFill rotWithShape="1">
            <a:gsLst>
              <a:gs pos="0">
                <a:srgbClr val="FFC589">
                  <a:alpha val="70000"/>
                </a:srgbClr>
              </a:gs>
              <a:gs pos="100000">
                <a:srgbClr val="A3A3A3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37" name="Freeform 230"/>
          <p:cNvSpPr>
            <a:spLocks/>
          </p:cNvSpPr>
          <p:nvPr/>
        </p:nvSpPr>
        <p:spPr bwMode="auto">
          <a:xfrm rot="-463034">
            <a:off x="1860089" y="2904640"/>
            <a:ext cx="6353175" cy="749393"/>
          </a:xfrm>
          <a:custGeom>
            <a:avLst/>
            <a:gdLst>
              <a:gd name="T0" fmla="*/ 187593 w 5052253"/>
              <a:gd name="T1" fmla="*/ 24468 h 790272"/>
              <a:gd name="T2" fmla="*/ 5797928 w 5052253"/>
              <a:gd name="T3" fmla="*/ 261703 h 790272"/>
              <a:gd name="T4" fmla="*/ 13685983 w 5052253"/>
              <a:gd name="T5" fmla="*/ 66339 h 790272"/>
              <a:gd name="T6" fmla="*/ 13734495 w 5052253"/>
              <a:gd name="T7" fmla="*/ 98939 h 790272"/>
              <a:gd name="T8" fmla="*/ 5771760 w 5052253"/>
              <a:gd name="T9" fmla="*/ 361304 h 790272"/>
              <a:gd name="T10" fmla="*/ 0 w 5052253"/>
              <a:gd name="T11" fmla="*/ 267573 h 790272"/>
              <a:gd name="T12" fmla="*/ 187593 w 5052253"/>
              <a:gd name="T13" fmla="*/ 24468 h 7902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052253"/>
              <a:gd name="T22" fmla="*/ 0 h 790272"/>
              <a:gd name="T23" fmla="*/ 5052253 w 5052253"/>
              <a:gd name="T24" fmla="*/ 790272 h 79027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052253" h="790272">
                <a:moveTo>
                  <a:pt x="69006" y="49657"/>
                </a:moveTo>
                <a:cubicBezTo>
                  <a:pt x="436370" y="160348"/>
                  <a:pt x="1305208" y="516942"/>
                  <a:pt x="2132775" y="531104"/>
                </a:cubicBezTo>
                <a:cubicBezTo>
                  <a:pt x="2960342" y="545266"/>
                  <a:pt x="4657229" y="0"/>
                  <a:pt x="5034407" y="134629"/>
                </a:cubicBezTo>
                <a:lnTo>
                  <a:pt x="5052253" y="200789"/>
                </a:lnTo>
                <a:cubicBezTo>
                  <a:pt x="4762337" y="49673"/>
                  <a:pt x="2965191" y="676196"/>
                  <a:pt x="2123149" y="733234"/>
                </a:cubicBezTo>
                <a:cubicBezTo>
                  <a:pt x="1281107" y="790272"/>
                  <a:pt x="359343" y="661727"/>
                  <a:pt x="0" y="543015"/>
                </a:cubicBezTo>
                <a:lnTo>
                  <a:pt x="69006" y="49657"/>
                </a:lnTo>
                <a:close/>
              </a:path>
            </a:pathLst>
          </a:custGeom>
          <a:gradFill rotWithShape="1">
            <a:gsLst>
              <a:gs pos="0">
                <a:srgbClr val="7F10A2">
                  <a:alpha val="70000"/>
                </a:srgbClr>
              </a:gs>
              <a:gs pos="100000">
                <a:srgbClr val="A3A3A3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38" name="Freeform 232"/>
          <p:cNvSpPr>
            <a:spLocks/>
          </p:cNvSpPr>
          <p:nvPr/>
        </p:nvSpPr>
        <p:spPr bwMode="auto">
          <a:xfrm rot="20236243">
            <a:off x="1417638" y="3509643"/>
            <a:ext cx="7740650" cy="1006355"/>
          </a:xfrm>
          <a:custGeom>
            <a:avLst/>
            <a:gdLst>
              <a:gd name="T0" fmla="*/ 777961 w 5933208"/>
              <a:gd name="T1" fmla="*/ 226316 h 1097028"/>
              <a:gd name="T2" fmla="*/ 7654514 w 5933208"/>
              <a:gd name="T3" fmla="*/ 450183 h 1097028"/>
              <a:gd name="T4" fmla="*/ 19904553 w 5933208"/>
              <a:gd name="T5" fmla="*/ 209681 h 1097028"/>
              <a:gd name="T6" fmla="*/ 19894404 w 5933208"/>
              <a:gd name="T7" fmla="*/ 259578 h 1097028"/>
              <a:gd name="T8" fmla="*/ 7622222 w 5933208"/>
              <a:gd name="T9" fmla="*/ 559001 h 1097028"/>
              <a:gd name="T10" fmla="*/ 0 w 5933208"/>
              <a:gd name="T11" fmla="*/ 449135 h 1097028"/>
              <a:gd name="T12" fmla="*/ 777961 w 5933208"/>
              <a:gd name="T13" fmla="*/ 226316 h 1097028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933208"/>
              <a:gd name="T22" fmla="*/ 0 h 1097028"/>
              <a:gd name="T23" fmla="*/ 5933208 w 5933208"/>
              <a:gd name="T24" fmla="*/ 1097028 h 1097028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933208" h="1097028">
                <a:moveTo>
                  <a:pt x="231897" y="420383"/>
                </a:moveTo>
                <a:cubicBezTo>
                  <a:pt x="599261" y="531074"/>
                  <a:pt x="1331462" y="841364"/>
                  <a:pt x="2281680" y="836214"/>
                </a:cubicBezTo>
                <a:cubicBezTo>
                  <a:pt x="3231898" y="831064"/>
                  <a:pt x="5627140" y="0"/>
                  <a:pt x="5933208" y="389482"/>
                </a:cubicBezTo>
                <a:cubicBezTo>
                  <a:pt x="5932200" y="420377"/>
                  <a:pt x="5931191" y="451271"/>
                  <a:pt x="5930183" y="482166"/>
                </a:cubicBezTo>
                <a:cubicBezTo>
                  <a:pt x="5693491" y="53984"/>
                  <a:pt x="3260418" y="979660"/>
                  <a:pt x="2272054" y="1038344"/>
                </a:cubicBezTo>
                <a:cubicBezTo>
                  <a:pt x="1283690" y="1097028"/>
                  <a:pt x="359343" y="952980"/>
                  <a:pt x="0" y="834268"/>
                </a:cubicBezTo>
                <a:lnTo>
                  <a:pt x="231897" y="420383"/>
                </a:lnTo>
                <a:close/>
              </a:path>
            </a:pathLst>
          </a:custGeom>
          <a:gradFill rotWithShape="1">
            <a:gsLst>
              <a:gs pos="0">
                <a:srgbClr val="FFC589">
                  <a:alpha val="70000"/>
                </a:srgbClr>
              </a:gs>
              <a:gs pos="100000">
                <a:schemeClr val="tx2">
                  <a:alpha val="73000"/>
                </a:schemeClr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sp>
        <p:nvSpPr>
          <p:cNvPr id="86039" name="Freeform 230"/>
          <p:cNvSpPr>
            <a:spLocks/>
          </p:cNvSpPr>
          <p:nvPr/>
        </p:nvSpPr>
        <p:spPr bwMode="auto">
          <a:xfrm rot="-931508">
            <a:off x="1790700" y="3390359"/>
            <a:ext cx="6656388" cy="735866"/>
          </a:xfrm>
          <a:custGeom>
            <a:avLst/>
            <a:gdLst>
              <a:gd name="T0" fmla="*/ 226052 w 5052253"/>
              <a:gd name="T1" fmla="*/ 28396 h 790272"/>
              <a:gd name="T2" fmla="*/ 6986570 w 5052253"/>
              <a:gd name="T3" fmla="*/ 303708 h 790272"/>
              <a:gd name="T4" fmla="*/ 16491768 w 5052253"/>
              <a:gd name="T5" fmla="*/ 76986 h 790272"/>
              <a:gd name="T6" fmla="*/ 16550229 w 5052253"/>
              <a:gd name="T7" fmla="*/ 114819 h 790272"/>
              <a:gd name="T8" fmla="*/ 6955037 w 5052253"/>
              <a:gd name="T9" fmla="*/ 419293 h 790272"/>
              <a:gd name="T10" fmla="*/ 0 w 5052253"/>
              <a:gd name="T11" fmla="*/ 310519 h 790272"/>
              <a:gd name="T12" fmla="*/ 226052 w 5052253"/>
              <a:gd name="T13" fmla="*/ 28396 h 79027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052253"/>
              <a:gd name="T22" fmla="*/ 0 h 790272"/>
              <a:gd name="T23" fmla="*/ 5052253 w 5052253"/>
              <a:gd name="T24" fmla="*/ 790272 h 79027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052253" h="790272">
                <a:moveTo>
                  <a:pt x="69006" y="49657"/>
                </a:moveTo>
                <a:cubicBezTo>
                  <a:pt x="436370" y="160348"/>
                  <a:pt x="1305208" y="516942"/>
                  <a:pt x="2132775" y="531104"/>
                </a:cubicBezTo>
                <a:cubicBezTo>
                  <a:pt x="2960342" y="545266"/>
                  <a:pt x="4657229" y="0"/>
                  <a:pt x="5034407" y="134629"/>
                </a:cubicBezTo>
                <a:lnTo>
                  <a:pt x="5052253" y="200789"/>
                </a:lnTo>
                <a:cubicBezTo>
                  <a:pt x="4762337" y="49673"/>
                  <a:pt x="2965191" y="676196"/>
                  <a:pt x="2123149" y="733234"/>
                </a:cubicBezTo>
                <a:cubicBezTo>
                  <a:pt x="1281107" y="790272"/>
                  <a:pt x="359343" y="661727"/>
                  <a:pt x="0" y="543015"/>
                </a:cubicBezTo>
                <a:lnTo>
                  <a:pt x="69006" y="49657"/>
                </a:lnTo>
                <a:close/>
              </a:path>
            </a:pathLst>
          </a:custGeom>
          <a:gradFill rotWithShape="1">
            <a:gsLst>
              <a:gs pos="0">
                <a:schemeClr val="bg2">
                  <a:alpha val="70000"/>
                </a:schemeClr>
              </a:gs>
              <a:gs pos="100000">
                <a:srgbClr val="A3A3A3"/>
              </a:gs>
            </a:gsLst>
            <a:lin ang="0" scaled="1"/>
          </a:gradFill>
          <a:ln w="9525">
            <a:noFill/>
            <a:miter lim="800000"/>
            <a:headEnd/>
            <a:tailEnd/>
          </a:ln>
        </p:spPr>
        <p:txBody>
          <a:bodyPr lIns="90000" tIns="46800" rIns="90000" bIns="46800" anchor="ctr">
            <a:prstTxWarp prst="textNoShape">
              <a:avLst/>
            </a:prstTxWarp>
          </a:bodyPr>
          <a:lstStyle/>
          <a:p>
            <a:endParaRPr lang="en-US">
              <a:ea typeface="ＭＳ Ｐゴシック" charset="0"/>
              <a:cs typeface="ＭＳ Ｐゴシック" charset="0"/>
            </a:endParaRPr>
          </a:p>
        </p:txBody>
      </p:sp>
      <p:grpSp>
        <p:nvGrpSpPr>
          <p:cNvPr id="86040" name="Group 1279"/>
          <p:cNvGrpSpPr>
            <a:grpSpLocks/>
          </p:cNvGrpSpPr>
          <p:nvPr/>
        </p:nvGrpSpPr>
        <p:grpSpPr bwMode="auto">
          <a:xfrm>
            <a:off x="1619250" y="2389044"/>
            <a:ext cx="687388" cy="616582"/>
            <a:chOff x="5599" y="4325"/>
            <a:chExt cx="270" cy="229"/>
          </a:xfrm>
        </p:grpSpPr>
        <p:sp>
          <p:nvSpPr>
            <p:cNvPr id="86159" name="Freeform 1280"/>
            <p:cNvSpPr>
              <a:spLocks/>
            </p:cNvSpPr>
            <p:nvPr/>
          </p:nvSpPr>
          <p:spPr bwMode="auto">
            <a:xfrm>
              <a:off x="5839" y="4539"/>
              <a:ext cx="2" cy="0"/>
            </a:xfrm>
            <a:custGeom>
              <a:avLst/>
              <a:gdLst>
                <a:gd name="T0" fmla="*/ 1 w 4"/>
                <a:gd name="T1" fmla="*/ 0 w 4"/>
                <a:gd name="T2" fmla="*/ 1 w 4"/>
                <a:gd name="T3" fmla="*/ 0 60000 65536"/>
                <a:gd name="T4" fmla="*/ 0 60000 65536"/>
                <a:gd name="T5" fmla="*/ 0 60000 65536"/>
                <a:gd name="T6" fmla="*/ 0 w 4"/>
                <a:gd name="T7" fmla="*/ 4 w 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</a:path>
              </a:pathLst>
            </a:custGeom>
            <a:solidFill>
              <a:srgbClr val="1A171B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60" name="Freeform 1281"/>
            <p:cNvSpPr>
              <a:spLocks/>
            </p:cNvSpPr>
            <p:nvPr/>
          </p:nvSpPr>
          <p:spPr bwMode="auto">
            <a:xfrm>
              <a:off x="5602" y="4328"/>
              <a:ext cx="263" cy="223"/>
            </a:xfrm>
            <a:custGeom>
              <a:avLst/>
              <a:gdLst>
                <a:gd name="T0" fmla="*/ 6 w 557"/>
                <a:gd name="T1" fmla="*/ 4 h 473"/>
                <a:gd name="T2" fmla="*/ 6 w 557"/>
                <a:gd name="T3" fmla="*/ 4 h 473"/>
                <a:gd name="T4" fmla="*/ 4 w 557"/>
                <a:gd name="T5" fmla="*/ 0 h 473"/>
                <a:gd name="T6" fmla="*/ 4 w 557"/>
                <a:gd name="T7" fmla="*/ 0 h 473"/>
                <a:gd name="T8" fmla="*/ 3 w 557"/>
                <a:gd name="T9" fmla="*/ 0 h 473"/>
                <a:gd name="T10" fmla="*/ 3 w 557"/>
                <a:gd name="T11" fmla="*/ 0 h 473"/>
                <a:gd name="T12" fmla="*/ 3 w 557"/>
                <a:gd name="T13" fmla="*/ 0 h 473"/>
                <a:gd name="T14" fmla="*/ 3 w 557"/>
                <a:gd name="T15" fmla="*/ 0 h 473"/>
                <a:gd name="T16" fmla="*/ 3 w 557"/>
                <a:gd name="T17" fmla="*/ 0 h 473"/>
                <a:gd name="T18" fmla="*/ 3 w 557"/>
                <a:gd name="T19" fmla="*/ 0 h 473"/>
                <a:gd name="T20" fmla="*/ 0 w 557"/>
                <a:gd name="T21" fmla="*/ 4 h 473"/>
                <a:gd name="T22" fmla="*/ 0 w 557"/>
                <a:gd name="T23" fmla="*/ 4 h 473"/>
                <a:gd name="T24" fmla="*/ 0 w 557"/>
                <a:gd name="T25" fmla="*/ 5 h 473"/>
                <a:gd name="T26" fmla="*/ 0 w 557"/>
                <a:gd name="T27" fmla="*/ 5 h 473"/>
                <a:gd name="T28" fmla="*/ 6 w 557"/>
                <a:gd name="T29" fmla="*/ 5 h 473"/>
                <a:gd name="T30" fmla="*/ 6 w 557"/>
                <a:gd name="T31" fmla="*/ 5 h 473"/>
                <a:gd name="T32" fmla="*/ 6 w 557"/>
                <a:gd name="T33" fmla="*/ 5 h 473"/>
                <a:gd name="T34" fmla="*/ 6 w 557"/>
                <a:gd name="T35" fmla="*/ 5 h 473"/>
                <a:gd name="T36" fmla="*/ 6 w 557"/>
                <a:gd name="T37" fmla="*/ 4 h 47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7"/>
                <a:gd name="T58" fmla="*/ 0 h 473"/>
                <a:gd name="T59" fmla="*/ 557 w 557"/>
                <a:gd name="T60" fmla="*/ 473 h 47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7" h="473">
                  <a:moveTo>
                    <a:pt x="551" y="414"/>
                  </a:moveTo>
                  <a:cubicBezTo>
                    <a:pt x="551" y="414"/>
                    <a:pt x="551" y="414"/>
                    <a:pt x="551" y="414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3" y="18"/>
                    <a:pt x="313" y="18"/>
                    <a:pt x="313" y="18"/>
                  </a:cubicBezTo>
                  <a:cubicBezTo>
                    <a:pt x="306" y="7"/>
                    <a:pt x="293" y="0"/>
                    <a:pt x="279" y="0"/>
                  </a:cubicBezTo>
                  <a:cubicBezTo>
                    <a:pt x="277" y="0"/>
                    <a:pt x="275" y="0"/>
                    <a:pt x="274" y="0"/>
                  </a:cubicBezTo>
                  <a:cubicBezTo>
                    <a:pt x="273" y="0"/>
                    <a:pt x="271" y="0"/>
                    <a:pt x="270" y="1"/>
                  </a:cubicBezTo>
                  <a:cubicBezTo>
                    <a:pt x="259" y="4"/>
                    <a:pt x="249" y="10"/>
                    <a:pt x="243" y="19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5"/>
                    <a:pt x="240" y="25"/>
                    <a:pt x="240" y="25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3" y="420"/>
                    <a:pt x="0" y="427"/>
                    <a:pt x="0" y="434"/>
                  </a:cubicBezTo>
                  <a:cubicBezTo>
                    <a:pt x="0" y="455"/>
                    <a:pt x="18" y="473"/>
                    <a:pt x="39" y="473"/>
                  </a:cubicBezTo>
                  <a:cubicBezTo>
                    <a:pt x="518" y="473"/>
                    <a:pt x="518" y="473"/>
                    <a:pt x="518" y="473"/>
                  </a:cubicBezTo>
                  <a:cubicBezTo>
                    <a:pt x="521" y="473"/>
                    <a:pt x="523" y="472"/>
                    <a:pt x="526" y="472"/>
                  </a:cubicBezTo>
                  <a:cubicBezTo>
                    <a:pt x="530" y="471"/>
                    <a:pt x="530" y="471"/>
                    <a:pt x="530" y="471"/>
                  </a:cubicBezTo>
                  <a:cubicBezTo>
                    <a:pt x="545" y="466"/>
                    <a:pt x="557" y="451"/>
                    <a:pt x="557" y="434"/>
                  </a:cubicBezTo>
                  <a:cubicBezTo>
                    <a:pt x="557" y="427"/>
                    <a:pt x="555" y="420"/>
                    <a:pt x="551" y="414"/>
                  </a:cubicBezTo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61" name="Freeform 1282"/>
            <p:cNvSpPr>
              <a:spLocks noEditPoints="1"/>
            </p:cNvSpPr>
            <p:nvPr/>
          </p:nvSpPr>
          <p:spPr bwMode="auto">
            <a:xfrm>
              <a:off x="5599" y="4325"/>
              <a:ext cx="270" cy="229"/>
            </a:xfrm>
            <a:custGeom>
              <a:avLst/>
              <a:gdLst>
                <a:gd name="T0" fmla="*/ 0 w 570"/>
                <a:gd name="T1" fmla="*/ 5 h 486"/>
                <a:gd name="T2" fmla="*/ 0 w 570"/>
                <a:gd name="T3" fmla="*/ 5 h 486"/>
                <a:gd name="T4" fmla="*/ 0 w 570"/>
                <a:gd name="T5" fmla="*/ 5 h 486"/>
                <a:gd name="T6" fmla="*/ 0 w 570"/>
                <a:gd name="T7" fmla="*/ 5 h 486"/>
                <a:gd name="T8" fmla="*/ 3 w 570"/>
                <a:gd name="T9" fmla="*/ 0 h 486"/>
                <a:gd name="T10" fmla="*/ 3 w 570"/>
                <a:gd name="T11" fmla="*/ 0 h 486"/>
                <a:gd name="T12" fmla="*/ 3 w 570"/>
                <a:gd name="T13" fmla="*/ 0 h 486"/>
                <a:gd name="T14" fmla="*/ 3 w 570"/>
                <a:gd name="T15" fmla="*/ 0 h 486"/>
                <a:gd name="T16" fmla="*/ 3 w 570"/>
                <a:gd name="T17" fmla="*/ 0 h 486"/>
                <a:gd name="T18" fmla="*/ 3 w 570"/>
                <a:gd name="T19" fmla="*/ 0 h 486"/>
                <a:gd name="T20" fmla="*/ 3 w 570"/>
                <a:gd name="T21" fmla="*/ 0 h 486"/>
                <a:gd name="T22" fmla="*/ 4 w 570"/>
                <a:gd name="T23" fmla="*/ 0 h 486"/>
                <a:gd name="T24" fmla="*/ 4 w 570"/>
                <a:gd name="T25" fmla="*/ 0 h 486"/>
                <a:gd name="T26" fmla="*/ 6 w 570"/>
                <a:gd name="T27" fmla="*/ 5 h 486"/>
                <a:gd name="T28" fmla="*/ 6 w 570"/>
                <a:gd name="T29" fmla="*/ 5 h 486"/>
                <a:gd name="T30" fmla="*/ 7 w 570"/>
                <a:gd name="T31" fmla="*/ 5 h 486"/>
                <a:gd name="T32" fmla="*/ 6 w 570"/>
                <a:gd name="T33" fmla="*/ 5 h 486"/>
                <a:gd name="T34" fmla="*/ 6 w 570"/>
                <a:gd name="T35" fmla="*/ 5 h 486"/>
                <a:gd name="T36" fmla="*/ 6 w 570"/>
                <a:gd name="T37" fmla="*/ 5 h 486"/>
                <a:gd name="T38" fmla="*/ 6 w 570"/>
                <a:gd name="T39" fmla="*/ 5 h 486"/>
                <a:gd name="T40" fmla="*/ 6 w 570"/>
                <a:gd name="T41" fmla="*/ 5 h 486"/>
                <a:gd name="T42" fmla="*/ 0 w 570"/>
                <a:gd name="T43" fmla="*/ 5 h 486"/>
                <a:gd name="T44" fmla="*/ 3 w 570"/>
                <a:gd name="T45" fmla="*/ 0 h 486"/>
                <a:gd name="T46" fmla="*/ 3 w 570"/>
                <a:gd name="T47" fmla="*/ 0 h 486"/>
                <a:gd name="T48" fmla="*/ 0 w 570"/>
                <a:gd name="T49" fmla="*/ 5 h 486"/>
                <a:gd name="T50" fmla="*/ 0 w 570"/>
                <a:gd name="T51" fmla="*/ 5 h 486"/>
                <a:gd name="T52" fmla="*/ 0 w 570"/>
                <a:gd name="T53" fmla="*/ 5 h 486"/>
                <a:gd name="T54" fmla="*/ 0 w 570"/>
                <a:gd name="T55" fmla="*/ 5 h 486"/>
                <a:gd name="T56" fmla="*/ 0 w 570"/>
                <a:gd name="T57" fmla="*/ 5 h 486"/>
                <a:gd name="T58" fmla="*/ 6 w 570"/>
                <a:gd name="T59" fmla="*/ 5 h 486"/>
                <a:gd name="T60" fmla="*/ 6 w 570"/>
                <a:gd name="T61" fmla="*/ 5 h 486"/>
                <a:gd name="T62" fmla="*/ 6 w 570"/>
                <a:gd name="T63" fmla="*/ 5 h 486"/>
                <a:gd name="T64" fmla="*/ 6 w 570"/>
                <a:gd name="T65" fmla="*/ 5 h 486"/>
                <a:gd name="T66" fmla="*/ 6 w 570"/>
                <a:gd name="T67" fmla="*/ 5 h 486"/>
                <a:gd name="T68" fmla="*/ 6 w 570"/>
                <a:gd name="T69" fmla="*/ 5 h 486"/>
                <a:gd name="T70" fmla="*/ 6 w 570"/>
                <a:gd name="T71" fmla="*/ 5 h 486"/>
                <a:gd name="T72" fmla="*/ 4 w 570"/>
                <a:gd name="T73" fmla="*/ 0 h 486"/>
                <a:gd name="T74" fmla="*/ 4 w 570"/>
                <a:gd name="T75" fmla="*/ 0 h 486"/>
                <a:gd name="T76" fmla="*/ 3 w 570"/>
                <a:gd name="T77" fmla="*/ 0 h 486"/>
                <a:gd name="T78" fmla="*/ 3 w 570"/>
                <a:gd name="T79" fmla="*/ 0 h 486"/>
                <a:gd name="T80" fmla="*/ 3 w 570"/>
                <a:gd name="T81" fmla="*/ 0 h 486"/>
                <a:gd name="T82" fmla="*/ 3 w 570"/>
                <a:gd name="T83" fmla="*/ 0 h 486"/>
                <a:gd name="T84" fmla="*/ 3 w 570"/>
                <a:gd name="T85" fmla="*/ 0 h 4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70"/>
                <a:gd name="T130" fmla="*/ 0 h 486"/>
                <a:gd name="T131" fmla="*/ 570 w 570"/>
                <a:gd name="T132" fmla="*/ 486 h 48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70" h="486">
                  <a:moveTo>
                    <a:pt x="45" y="486"/>
                  </a:moveTo>
                  <a:cubicBezTo>
                    <a:pt x="20" y="486"/>
                    <a:pt x="0" y="466"/>
                    <a:pt x="0" y="441"/>
                  </a:cubicBezTo>
                  <a:cubicBezTo>
                    <a:pt x="0" y="435"/>
                    <a:pt x="1" y="429"/>
                    <a:pt x="3" y="423"/>
                  </a:cubicBezTo>
                  <a:cubicBezTo>
                    <a:pt x="3" y="423"/>
                    <a:pt x="3" y="423"/>
                    <a:pt x="3" y="4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41" y="26"/>
                    <a:pt x="241" y="26"/>
                    <a:pt x="241" y="26"/>
                  </a:cubicBezTo>
                  <a:cubicBezTo>
                    <a:pt x="243" y="22"/>
                    <a:pt x="243" y="22"/>
                    <a:pt x="243" y="22"/>
                  </a:cubicBezTo>
                  <a:cubicBezTo>
                    <a:pt x="244" y="22"/>
                    <a:pt x="244" y="22"/>
                    <a:pt x="244" y="22"/>
                  </a:cubicBezTo>
                  <a:cubicBezTo>
                    <a:pt x="251" y="12"/>
                    <a:pt x="261" y="4"/>
                    <a:pt x="274" y="1"/>
                  </a:cubicBezTo>
                  <a:cubicBezTo>
                    <a:pt x="276" y="1"/>
                    <a:pt x="278" y="0"/>
                    <a:pt x="279" y="0"/>
                  </a:cubicBezTo>
                  <a:cubicBezTo>
                    <a:pt x="281" y="0"/>
                    <a:pt x="283" y="0"/>
                    <a:pt x="285" y="0"/>
                  </a:cubicBezTo>
                  <a:cubicBezTo>
                    <a:pt x="301" y="0"/>
                    <a:pt x="316" y="8"/>
                    <a:pt x="325" y="21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566" y="423"/>
                    <a:pt x="566" y="423"/>
                    <a:pt x="566" y="423"/>
                  </a:cubicBezTo>
                  <a:cubicBezTo>
                    <a:pt x="566" y="423"/>
                    <a:pt x="566" y="423"/>
                    <a:pt x="566" y="423"/>
                  </a:cubicBezTo>
                  <a:cubicBezTo>
                    <a:pt x="568" y="429"/>
                    <a:pt x="570" y="435"/>
                    <a:pt x="570" y="441"/>
                  </a:cubicBezTo>
                  <a:cubicBezTo>
                    <a:pt x="570" y="461"/>
                    <a:pt x="556" y="479"/>
                    <a:pt x="538" y="484"/>
                  </a:cubicBezTo>
                  <a:cubicBezTo>
                    <a:pt x="538" y="484"/>
                    <a:pt x="538" y="484"/>
                    <a:pt x="538" y="484"/>
                  </a:cubicBezTo>
                  <a:cubicBezTo>
                    <a:pt x="537" y="485"/>
                    <a:pt x="537" y="485"/>
                    <a:pt x="537" y="485"/>
                  </a:cubicBezTo>
                  <a:cubicBezTo>
                    <a:pt x="533" y="486"/>
                    <a:pt x="533" y="486"/>
                    <a:pt x="533" y="486"/>
                  </a:cubicBezTo>
                  <a:cubicBezTo>
                    <a:pt x="530" y="486"/>
                    <a:pt x="527" y="486"/>
                    <a:pt x="524" y="486"/>
                  </a:cubicBezTo>
                  <a:lnTo>
                    <a:pt x="45" y="486"/>
                  </a:lnTo>
                  <a:close/>
                  <a:moveTo>
                    <a:pt x="253" y="33"/>
                  </a:moveTo>
                  <a:cubicBezTo>
                    <a:pt x="252" y="35"/>
                    <a:pt x="252" y="35"/>
                    <a:pt x="252" y="35"/>
                  </a:cubicBezTo>
                  <a:cubicBezTo>
                    <a:pt x="21" y="419"/>
                    <a:pt x="21" y="419"/>
                    <a:pt x="21" y="419"/>
                  </a:cubicBezTo>
                  <a:cubicBezTo>
                    <a:pt x="21" y="419"/>
                    <a:pt x="21" y="419"/>
                    <a:pt x="21" y="419"/>
                  </a:cubicBezTo>
                  <a:cubicBezTo>
                    <a:pt x="18" y="425"/>
                    <a:pt x="18" y="425"/>
                    <a:pt x="18" y="425"/>
                  </a:cubicBezTo>
                  <a:cubicBezTo>
                    <a:pt x="15" y="429"/>
                    <a:pt x="13" y="435"/>
                    <a:pt x="13" y="441"/>
                  </a:cubicBezTo>
                  <a:cubicBezTo>
                    <a:pt x="13" y="459"/>
                    <a:pt x="27" y="473"/>
                    <a:pt x="45" y="473"/>
                  </a:cubicBezTo>
                  <a:cubicBezTo>
                    <a:pt x="524" y="473"/>
                    <a:pt x="524" y="473"/>
                    <a:pt x="524" y="473"/>
                  </a:cubicBezTo>
                  <a:cubicBezTo>
                    <a:pt x="526" y="473"/>
                    <a:pt x="528" y="473"/>
                    <a:pt x="530" y="472"/>
                  </a:cubicBezTo>
                  <a:cubicBezTo>
                    <a:pt x="534" y="471"/>
                    <a:pt x="534" y="471"/>
                    <a:pt x="534" y="471"/>
                  </a:cubicBezTo>
                  <a:cubicBezTo>
                    <a:pt x="547" y="467"/>
                    <a:pt x="556" y="455"/>
                    <a:pt x="556" y="441"/>
                  </a:cubicBezTo>
                  <a:cubicBezTo>
                    <a:pt x="556" y="435"/>
                    <a:pt x="554" y="429"/>
                    <a:pt x="551" y="425"/>
                  </a:cubicBezTo>
                  <a:cubicBezTo>
                    <a:pt x="557" y="421"/>
                    <a:pt x="557" y="421"/>
                    <a:pt x="557" y="421"/>
                  </a:cubicBezTo>
                  <a:cubicBezTo>
                    <a:pt x="551" y="424"/>
                    <a:pt x="551" y="424"/>
                    <a:pt x="551" y="424"/>
                  </a:cubicBezTo>
                  <a:cubicBezTo>
                    <a:pt x="316" y="33"/>
                    <a:pt x="316" y="33"/>
                    <a:pt x="316" y="33"/>
                  </a:cubicBezTo>
                  <a:cubicBezTo>
                    <a:pt x="313" y="29"/>
                    <a:pt x="313" y="29"/>
                    <a:pt x="313" y="29"/>
                  </a:cubicBezTo>
                  <a:cubicBezTo>
                    <a:pt x="307" y="20"/>
                    <a:pt x="297" y="14"/>
                    <a:pt x="285" y="14"/>
                  </a:cubicBezTo>
                  <a:cubicBezTo>
                    <a:pt x="283" y="14"/>
                    <a:pt x="282" y="14"/>
                    <a:pt x="281" y="14"/>
                  </a:cubicBezTo>
                  <a:cubicBezTo>
                    <a:pt x="280" y="14"/>
                    <a:pt x="278" y="14"/>
                    <a:pt x="278" y="14"/>
                  </a:cubicBezTo>
                  <a:cubicBezTo>
                    <a:pt x="268" y="17"/>
                    <a:pt x="260" y="22"/>
                    <a:pt x="255" y="30"/>
                  </a:cubicBezTo>
                  <a:lnTo>
                    <a:pt x="253" y="33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62" name="Freeform 1283"/>
            <p:cNvSpPr>
              <a:spLocks/>
            </p:cNvSpPr>
            <p:nvPr/>
          </p:nvSpPr>
          <p:spPr bwMode="auto">
            <a:xfrm>
              <a:off x="5638" y="4459"/>
              <a:ext cx="191" cy="78"/>
            </a:xfrm>
            <a:custGeom>
              <a:avLst/>
              <a:gdLst>
                <a:gd name="T0" fmla="*/ 4 w 405"/>
                <a:gd name="T1" fmla="*/ 1 h 165"/>
                <a:gd name="T2" fmla="*/ 3 w 405"/>
                <a:gd name="T3" fmla="*/ 1 h 165"/>
                <a:gd name="T4" fmla="*/ 2 w 405"/>
                <a:gd name="T5" fmla="*/ 1 h 165"/>
                <a:gd name="T6" fmla="*/ 3 w 405"/>
                <a:gd name="T7" fmla="*/ 0 h 165"/>
                <a:gd name="T8" fmla="*/ 3 w 405"/>
                <a:gd name="T9" fmla="*/ 0 h 165"/>
                <a:gd name="T10" fmla="*/ 2 w 405"/>
                <a:gd name="T11" fmla="*/ 0 h 165"/>
                <a:gd name="T12" fmla="*/ 2 w 405"/>
                <a:gd name="T13" fmla="*/ 0 h 165"/>
                <a:gd name="T14" fmla="*/ 2 w 405"/>
                <a:gd name="T15" fmla="*/ 0 h 165"/>
                <a:gd name="T16" fmla="*/ 2 w 405"/>
                <a:gd name="T17" fmla="*/ 0 h 165"/>
                <a:gd name="T18" fmla="*/ 2 w 405"/>
                <a:gd name="T19" fmla="*/ 0 h 165"/>
                <a:gd name="T20" fmla="*/ 1 w 405"/>
                <a:gd name="T21" fmla="*/ 0 h 165"/>
                <a:gd name="T22" fmla="*/ 2 w 405"/>
                <a:gd name="T23" fmla="*/ 1 h 165"/>
                <a:gd name="T24" fmla="*/ 1 w 405"/>
                <a:gd name="T25" fmla="*/ 1 h 165"/>
                <a:gd name="T26" fmla="*/ 0 w 405"/>
                <a:gd name="T27" fmla="*/ 1 h 165"/>
                <a:gd name="T28" fmla="*/ 0 w 405"/>
                <a:gd name="T29" fmla="*/ 2 h 165"/>
                <a:gd name="T30" fmla="*/ 0 w 405"/>
                <a:gd name="T31" fmla="*/ 2 h 165"/>
                <a:gd name="T32" fmla="*/ 2 w 405"/>
                <a:gd name="T33" fmla="*/ 2 h 165"/>
                <a:gd name="T34" fmla="*/ 2 w 405"/>
                <a:gd name="T35" fmla="*/ 2 h 165"/>
                <a:gd name="T36" fmla="*/ 2 w 405"/>
                <a:gd name="T37" fmla="*/ 1 h 165"/>
                <a:gd name="T38" fmla="*/ 3 w 405"/>
                <a:gd name="T39" fmla="*/ 2 h 165"/>
                <a:gd name="T40" fmla="*/ 3 w 405"/>
                <a:gd name="T41" fmla="*/ 2 h 165"/>
                <a:gd name="T42" fmla="*/ 4 w 405"/>
                <a:gd name="T43" fmla="*/ 2 h 165"/>
                <a:gd name="T44" fmla="*/ 4 w 405"/>
                <a:gd name="T45" fmla="*/ 2 h 165"/>
                <a:gd name="T46" fmla="*/ 4 w 405"/>
                <a:gd name="T47" fmla="*/ 1 h 1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05"/>
                <a:gd name="T73" fmla="*/ 0 h 165"/>
                <a:gd name="T74" fmla="*/ 405 w 405"/>
                <a:gd name="T75" fmla="*/ 165 h 1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05" h="165">
                  <a:moveTo>
                    <a:pt x="387" y="131"/>
                  </a:moveTo>
                  <a:cubicBezTo>
                    <a:pt x="261" y="131"/>
                    <a:pt x="261" y="131"/>
                    <a:pt x="261" y="131"/>
                  </a:cubicBezTo>
                  <a:cubicBezTo>
                    <a:pt x="224" y="79"/>
                    <a:pt x="224" y="79"/>
                    <a:pt x="224" y="79"/>
                  </a:cubicBezTo>
                  <a:cubicBezTo>
                    <a:pt x="260" y="30"/>
                    <a:pt x="260" y="30"/>
                    <a:pt x="260" y="30"/>
                  </a:cubicBezTo>
                  <a:cubicBezTo>
                    <a:pt x="266" y="22"/>
                    <a:pt x="264" y="11"/>
                    <a:pt x="256" y="6"/>
                  </a:cubicBezTo>
                  <a:cubicBezTo>
                    <a:pt x="249" y="0"/>
                    <a:pt x="238" y="2"/>
                    <a:pt x="232" y="9"/>
                  </a:cubicBezTo>
                  <a:cubicBezTo>
                    <a:pt x="232" y="9"/>
                    <a:pt x="232" y="9"/>
                    <a:pt x="232" y="9"/>
                  </a:cubicBezTo>
                  <a:cubicBezTo>
                    <a:pt x="203" y="50"/>
                    <a:pt x="203" y="50"/>
                    <a:pt x="203" y="50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67" y="2"/>
                    <a:pt x="157" y="0"/>
                    <a:pt x="149" y="6"/>
                  </a:cubicBezTo>
                  <a:cubicBezTo>
                    <a:pt x="141" y="11"/>
                    <a:pt x="140" y="22"/>
                    <a:pt x="145" y="30"/>
                  </a:cubicBezTo>
                  <a:cubicBezTo>
                    <a:pt x="181" y="79"/>
                    <a:pt x="181" y="79"/>
                    <a:pt x="181" y="79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8" y="131"/>
                    <a:pt x="0" y="139"/>
                    <a:pt x="0" y="148"/>
                  </a:cubicBezTo>
                  <a:cubicBezTo>
                    <a:pt x="0" y="158"/>
                    <a:pt x="8" y="165"/>
                    <a:pt x="18" y="165"/>
                  </a:cubicBezTo>
                  <a:cubicBezTo>
                    <a:pt x="152" y="165"/>
                    <a:pt x="152" y="165"/>
                    <a:pt x="152" y="165"/>
                  </a:cubicBezTo>
                  <a:cubicBezTo>
                    <a:pt x="158" y="165"/>
                    <a:pt x="163" y="163"/>
                    <a:pt x="166" y="158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39" y="158"/>
                    <a:pt x="239" y="158"/>
                    <a:pt x="239" y="158"/>
                  </a:cubicBezTo>
                  <a:cubicBezTo>
                    <a:pt x="242" y="163"/>
                    <a:pt x="247" y="165"/>
                    <a:pt x="253" y="165"/>
                  </a:cubicBezTo>
                  <a:cubicBezTo>
                    <a:pt x="387" y="165"/>
                    <a:pt x="387" y="165"/>
                    <a:pt x="387" y="165"/>
                  </a:cubicBezTo>
                  <a:cubicBezTo>
                    <a:pt x="397" y="165"/>
                    <a:pt x="405" y="158"/>
                    <a:pt x="405" y="148"/>
                  </a:cubicBezTo>
                  <a:cubicBezTo>
                    <a:pt x="405" y="139"/>
                    <a:pt x="397" y="131"/>
                    <a:pt x="387" y="1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6041" name="Group 5317"/>
          <p:cNvGrpSpPr>
            <a:grpSpLocks/>
          </p:cNvGrpSpPr>
          <p:nvPr/>
        </p:nvGrpSpPr>
        <p:grpSpPr bwMode="auto">
          <a:xfrm>
            <a:off x="1619250" y="3350037"/>
            <a:ext cx="685800" cy="604821"/>
            <a:chOff x="6852" y="4331"/>
            <a:chExt cx="269" cy="223"/>
          </a:xfrm>
        </p:grpSpPr>
        <p:sp>
          <p:nvSpPr>
            <p:cNvPr id="86153" name="Freeform 5318"/>
            <p:cNvSpPr>
              <a:spLocks/>
            </p:cNvSpPr>
            <p:nvPr/>
          </p:nvSpPr>
          <p:spPr bwMode="auto">
            <a:xfrm>
              <a:off x="7090" y="4545"/>
              <a:ext cx="2" cy="1"/>
            </a:xfrm>
            <a:custGeom>
              <a:avLst/>
              <a:gdLst>
                <a:gd name="T0" fmla="*/ 1 w 4"/>
                <a:gd name="T1" fmla="*/ 0 h 1"/>
                <a:gd name="T2" fmla="*/ 0 w 4"/>
                <a:gd name="T3" fmla="*/ 1 h 1"/>
                <a:gd name="T4" fmla="*/ 1 w 4"/>
                <a:gd name="T5" fmla="*/ 0 h 1"/>
                <a:gd name="T6" fmla="*/ 0 60000 65536"/>
                <a:gd name="T7" fmla="*/ 0 60000 65536"/>
                <a:gd name="T8" fmla="*/ 0 60000 65536"/>
                <a:gd name="T9" fmla="*/ 0 w 4"/>
                <a:gd name="T10" fmla="*/ 0 h 1"/>
                <a:gd name="T11" fmla="*/ 4 w 4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4" h="1">
                  <a:moveTo>
                    <a:pt x="4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1" y="0"/>
                    <a:pt x="2" y="0"/>
                    <a:pt x="4" y="0"/>
                  </a:cubicBezTo>
                </a:path>
              </a:pathLst>
            </a:custGeom>
            <a:solidFill>
              <a:srgbClr val="1A171B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54" name="Freeform 5319"/>
            <p:cNvSpPr>
              <a:spLocks/>
            </p:cNvSpPr>
            <p:nvPr/>
          </p:nvSpPr>
          <p:spPr bwMode="auto">
            <a:xfrm>
              <a:off x="6855" y="4334"/>
              <a:ext cx="262" cy="217"/>
            </a:xfrm>
            <a:custGeom>
              <a:avLst/>
              <a:gdLst>
                <a:gd name="T0" fmla="*/ 6 w 555"/>
                <a:gd name="T1" fmla="*/ 4 h 460"/>
                <a:gd name="T2" fmla="*/ 6 w 555"/>
                <a:gd name="T3" fmla="*/ 4 h 460"/>
                <a:gd name="T4" fmla="*/ 4 w 555"/>
                <a:gd name="T5" fmla="*/ 0 h 460"/>
                <a:gd name="T6" fmla="*/ 4 w 555"/>
                <a:gd name="T7" fmla="*/ 0 h 460"/>
                <a:gd name="T8" fmla="*/ 3 w 555"/>
                <a:gd name="T9" fmla="*/ 0 h 460"/>
                <a:gd name="T10" fmla="*/ 3 w 555"/>
                <a:gd name="T11" fmla="*/ 0 h 460"/>
                <a:gd name="T12" fmla="*/ 3 w 555"/>
                <a:gd name="T13" fmla="*/ 0 h 460"/>
                <a:gd name="T14" fmla="*/ 3 w 555"/>
                <a:gd name="T15" fmla="*/ 0 h 460"/>
                <a:gd name="T16" fmla="*/ 3 w 555"/>
                <a:gd name="T17" fmla="*/ 0 h 460"/>
                <a:gd name="T18" fmla="*/ 3 w 555"/>
                <a:gd name="T19" fmla="*/ 0 h 460"/>
                <a:gd name="T20" fmla="*/ 0 w 555"/>
                <a:gd name="T21" fmla="*/ 4 h 460"/>
                <a:gd name="T22" fmla="*/ 0 w 555"/>
                <a:gd name="T23" fmla="*/ 4 h 460"/>
                <a:gd name="T24" fmla="*/ 0 w 555"/>
                <a:gd name="T25" fmla="*/ 5 h 460"/>
                <a:gd name="T26" fmla="*/ 0 w 555"/>
                <a:gd name="T27" fmla="*/ 5 h 460"/>
                <a:gd name="T28" fmla="*/ 6 w 555"/>
                <a:gd name="T29" fmla="*/ 5 h 460"/>
                <a:gd name="T30" fmla="*/ 6 w 555"/>
                <a:gd name="T31" fmla="*/ 5 h 460"/>
                <a:gd name="T32" fmla="*/ 6 w 555"/>
                <a:gd name="T33" fmla="*/ 5 h 460"/>
                <a:gd name="T34" fmla="*/ 6 w 555"/>
                <a:gd name="T35" fmla="*/ 5 h 460"/>
                <a:gd name="T36" fmla="*/ 6 w 555"/>
                <a:gd name="T37" fmla="*/ 4 h 460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5"/>
                <a:gd name="T58" fmla="*/ 0 h 460"/>
                <a:gd name="T59" fmla="*/ 555 w 555"/>
                <a:gd name="T60" fmla="*/ 460 h 460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5" h="460">
                  <a:moveTo>
                    <a:pt x="550" y="403"/>
                  </a:moveTo>
                  <a:cubicBezTo>
                    <a:pt x="550" y="403"/>
                    <a:pt x="550" y="403"/>
                    <a:pt x="550" y="403"/>
                  </a:cubicBezTo>
                  <a:cubicBezTo>
                    <a:pt x="315" y="22"/>
                    <a:pt x="315" y="22"/>
                    <a:pt x="315" y="22"/>
                  </a:cubicBezTo>
                  <a:cubicBezTo>
                    <a:pt x="312" y="18"/>
                    <a:pt x="312" y="18"/>
                    <a:pt x="312" y="18"/>
                  </a:cubicBezTo>
                  <a:cubicBezTo>
                    <a:pt x="305" y="7"/>
                    <a:pt x="292" y="0"/>
                    <a:pt x="278" y="0"/>
                  </a:cubicBezTo>
                  <a:cubicBezTo>
                    <a:pt x="276" y="0"/>
                    <a:pt x="275" y="0"/>
                    <a:pt x="273" y="0"/>
                  </a:cubicBezTo>
                  <a:cubicBezTo>
                    <a:pt x="272" y="0"/>
                    <a:pt x="270" y="1"/>
                    <a:pt x="269" y="1"/>
                  </a:cubicBezTo>
                  <a:cubicBezTo>
                    <a:pt x="258" y="4"/>
                    <a:pt x="248" y="10"/>
                    <a:pt x="242" y="19"/>
                  </a:cubicBezTo>
                  <a:cubicBezTo>
                    <a:pt x="240" y="22"/>
                    <a:pt x="240" y="22"/>
                    <a:pt x="240" y="22"/>
                  </a:cubicBezTo>
                  <a:cubicBezTo>
                    <a:pt x="239" y="24"/>
                    <a:pt x="239" y="24"/>
                    <a:pt x="239" y="24"/>
                  </a:cubicBezTo>
                  <a:cubicBezTo>
                    <a:pt x="6" y="403"/>
                    <a:pt x="6" y="403"/>
                    <a:pt x="6" y="403"/>
                  </a:cubicBezTo>
                  <a:cubicBezTo>
                    <a:pt x="6" y="403"/>
                    <a:pt x="6" y="403"/>
                    <a:pt x="6" y="403"/>
                  </a:cubicBezTo>
                  <a:cubicBezTo>
                    <a:pt x="2" y="408"/>
                    <a:pt x="0" y="415"/>
                    <a:pt x="0" y="422"/>
                  </a:cubicBezTo>
                  <a:cubicBezTo>
                    <a:pt x="0" y="443"/>
                    <a:pt x="17" y="460"/>
                    <a:pt x="38" y="460"/>
                  </a:cubicBezTo>
                  <a:cubicBezTo>
                    <a:pt x="517" y="460"/>
                    <a:pt x="517" y="460"/>
                    <a:pt x="517" y="460"/>
                  </a:cubicBezTo>
                  <a:cubicBezTo>
                    <a:pt x="519" y="460"/>
                    <a:pt x="522" y="459"/>
                    <a:pt x="524" y="459"/>
                  </a:cubicBezTo>
                  <a:cubicBezTo>
                    <a:pt x="528" y="458"/>
                    <a:pt x="528" y="458"/>
                    <a:pt x="528" y="458"/>
                  </a:cubicBezTo>
                  <a:cubicBezTo>
                    <a:pt x="544" y="453"/>
                    <a:pt x="555" y="439"/>
                    <a:pt x="555" y="422"/>
                  </a:cubicBezTo>
                  <a:cubicBezTo>
                    <a:pt x="555" y="415"/>
                    <a:pt x="553" y="408"/>
                    <a:pt x="550" y="403"/>
                  </a:cubicBezTo>
                </a:path>
              </a:pathLst>
            </a:custGeom>
            <a:gradFill rotWithShape="0">
              <a:gsLst>
                <a:gs pos="0">
                  <a:srgbClr val="BE85D0"/>
                </a:gs>
                <a:gs pos="100000">
                  <a:srgbClr val="7F10A2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55" name="Freeform 5320"/>
            <p:cNvSpPr>
              <a:spLocks noEditPoints="1"/>
            </p:cNvSpPr>
            <p:nvPr/>
          </p:nvSpPr>
          <p:spPr bwMode="auto">
            <a:xfrm>
              <a:off x="6852" y="4331"/>
              <a:ext cx="269" cy="223"/>
            </a:xfrm>
            <a:custGeom>
              <a:avLst/>
              <a:gdLst>
                <a:gd name="T0" fmla="*/ 0 w 569"/>
                <a:gd name="T1" fmla="*/ 5 h 473"/>
                <a:gd name="T2" fmla="*/ 0 w 569"/>
                <a:gd name="T3" fmla="*/ 5 h 473"/>
                <a:gd name="T4" fmla="*/ 0 w 569"/>
                <a:gd name="T5" fmla="*/ 4 h 473"/>
                <a:gd name="T6" fmla="*/ 0 w 569"/>
                <a:gd name="T7" fmla="*/ 4 h 473"/>
                <a:gd name="T8" fmla="*/ 3 w 569"/>
                <a:gd name="T9" fmla="*/ 0 h 473"/>
                <a:gd name="T10" fmla="*/ 3 w 569"/>
                <a:gd name="T11" fmla="*/ 0 h 473"/>
                <a:gd name="T12" fmla="*/ 3 w 569"/>
                <a:gd name="T13" fmla="*/ 0 h 473"/>
                <a:gd name="T14" fmla="*/ 3 w 569"/>
                <a:gd name="T15" fmla="*/ 0 h 473"/>
                <a:gd name="T16" fmla="*/ 3 w 569"/>
                <a:gd name="T17" fmla="*/ 0 h 473"/>
                <a:gd name="T18" fmla="*/ 3 w 569"/>
                <a:gd name="T19" fmla="*/ 0 h 473"/>
                <a:gd name="T20" fmla="*/ 4 w 569"/>
                <a:gd name="T21" fmla="*/ 0 h 473"/>
                <a:gd name="T22" fmla="*/ 4 w 569"/>
                <a:gd name="T23" fmla="*/ 0 h 473"/>
                <a:gd name="T24" fmla="*/ 6 w 569"/>
                <a:gd name="T25" fmla="*/ 4 h 473"/>
                <a:gd name="T26" fmla="*/ 6 w 569"/>
                <a:gd name="T27" fmla="*/ 4 h 473"/>
                <a:gd name="T28" fmla="*/ 6 w 569"/>
                <a:gd name="T29" fmla="*/ 5 h 473"/>
                <a:gd name="T30" fmla="*/ 6 w 569"/>
                <a:gd name="T31" fmla="*/ 5 h 473"/>
                <a:gd name="T32" fmla="*/ 6 w 569"/>
                <a:gd name="T33" fmla="*/ 5 h 473"/>
                <a:gd name="T34" fmla="*/ 6 w 569"/>
                <a:gd name="T35" fmla="*/ 5 h 473"/>
                <a:gd name="T36" fmla="*/ 6 w 569"/>
                <a:gd name="T37" fmla="*/ 5 h 473"/>
                <a:gd name="T38" fmla="*/ 6 w 569"/>
                <a:gd name="T39" fmla="*/ 5 h 473"/>
                <a:gd name="T40" fmla="*/ 0 w 569"/>
                <a:gd name="T41" fmla="*/ 5 h 473"/>
                <a:gd name="T42" fmla="*/ 3 w 569"/>
                <a:gd name="T43" fmla="*/ 0 h 473"/>
                <a:gd name="T44" fmla="*/ 3 w 569"/>
                <a:gd name="T45" fmla="*/ 0 h 473"/>
                <a:gd name="T46" fmla="*/ 3 w 569"/>
                <a:gd name="T47" fmla="*/ 0 h 473"/>
                <a:gd name="T48" fmla="*/ 3 w 569"/>
                <a:gd name="T49" fmla="*/ 0 h 473"/>
                <a:gd name="T50" fmla="*/ 3 w 569"/>
                <a:gd name="T51" fmla="*/ 0 h 473"/>
                <a:gd name="T52" fmla="*/ 0 w 569"/>
                <a:gd name="T53" fmla="*/ 4 h 473"/>
                <a:gd name="T54" fmla="*/ 0 w 569"/>
                <a:gd name="T55" fmla="*/ 4 h 473"/>
                <a:gd name="T56" fmla="*/ 0 w 569"/>
                <a:gd name="T57" fmla="*/ 4 h 473"/>
                <a:gd name="T58" fmla="*/ 0 w 569"/>
                <a:gd name="T59" fmla="*/ 5 h 473"/>
                <a:gd name="T60" fmla="*/ 0 w 569"/>
                <a:gd name="T61" fmla="*/ 5 h 473"/>
                <a:gd name="T62" fmla="*/ 6 w 569"/>
                <a:gd name="T63" fmla="*/ 5 h 473"/>
                <a:gd name="T64" fmla="*/ 6 w 569"/>
                <a:gd name="T65" fmla="*/ 5 h 473"/>
                <a:gd name="T66" fmla="*/ 6 w 569"/>
                <a:gd name="T67" fmla="*/ 5 h 473"/>
                <a:gd name="T68" fmla="*/ 6 w 569"/>
                <a:gd name="T69" fmla="*/ 5 h 473"/>
                <a:gd name="T70" fmla="*/ 6 w 569"/>
                <a:gd name="T71" fmla="*/ 4 h 473"/>
                <a:gd name="T72" fmla="*/ 6 w 569"/>
                <a:gd name="T73" fmla="*/ 4 h 473"/>
                <a:gd name="T74" fmla="*/ 6 w 569"/>
                <a:gd name="T75" fmla="*/ 4 h 473"/>
                <a:gd name="T76" fmla="*/ 4 w 569"/>
                <a:gd name="T77" fmla="*/ 0 h 473"/>
                <a:gd name="T78" fmla="*/ 4 w 569"/>
                <a:gd name="T79" fmla="*/ 0 h 473"/>
                <a:gd name="T80" fmla="*/ 3 w 569"/>
                <a:gd name="T81" fmla="*/ 0 h 473"/>
                <a:gd name="T82" fmla="*/ 3 w 569"/>
                <a:gd name="T83" fmla="*/ 0 h 473"/>
                <a:gd name="T84" fmla="*/ 3 w 569"/>
                <a:gd name="T85" fmla="*/ 0 h 47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69"/>
                <a:gd name="T130" fmla="*/ 0 h 473"/>
                <a:gd name="T131" fmla="*/ 569 w 569"/>
                <a:gd name="T132" fmla="*/ 473 h 47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69" h="473">
                  <a:moveTo>
                    <a:pt x="45" y="473"/>
                  </a:moveTo>
                  <a:cubicBezTo>
                    <a:pt x="20" y="473"/>
                    <a:pt x="0" y="454"/>
                    <a:pt x="0" y="429"/>
                  </a:cubicBezTo>
                  <a:cubicBezTo>
                    <a:pt x="0" y="423"/>
                    <a:pt x="2" y="417"/>
                    <a:pt x="4" y="411"/>
                  </a:cubicBezTo>
                  <a:cubicBezTo>
                    <a:pt x="4" y="411"/>
                    <a:pt x="4" y="411"/>
                    <a:pt x="4" y="411"/>
                  </a:cubicBezTo>
                  <a:cubicBezTo>
                    <a:pt x="240" y="27"/>
                    <a:pt x="240" y="27"/>
                    <a:pt x="240" y="27"/>
                  </a:cubicBezTo>
                  <a:cubicBezTo>
                    <a:pt x="242" y="25"/>
                    <a:pt x="242" y="25"/>
                    <a:pt x="242" y="25"/>
                  </a:cubicBezTo>
                  <a:cubicBezTo>
                    <a:pt x="244" y="22"/>
                    <a:pt x="244" y="22"/>
                    <a:pt x="244" y="22"/>
                  </a:cubicBezTo>
                  <a:cubicBezTo>
                    <a:pt x="251" y="12"/>
                    <a:pt x="261" y="4"/>
                    <a:pt x="274" y="1"/>
                  </a:cubicBezTo>
                  <a:cubicBezTo>
                    <a:pt x="276" y="1"/>
                    <a:pt x="278" y="1"/>
                    <a:pt x="279" y="0"/>
                  </a:cubicBezTo>
                  <a:cubicBezTo>
                    <a:pt x="281" y="0"/>
                    <a:pt x="283" y="0"/>
                    <a:pt x="285" y="0"/>
                  </a:cubicBezTo>
                  <a:cubicBezTo>
                    <a:pt x="301" y="0"/>
                    <a:pt x="316" y="8"/>
                    <a:pt x="325" y="21"/>
                  </a:cubicBezTo>
                  <a:cubicBezTo>
                    <a:pt x="327" y="25"/>
                    <a:pt x="327" y="25"/>
                    <a:pt x="327" y="25"/>
                  </a:cubicBezTo>
                  <a:cubicBezTo>
                    <a:pt x="566" y="411"/>
                    <a:pt x="566" y="411"/>
                    <a:pt x="566" y="411"/>
                  </a:cubicBezTo>
                  <a:cubicBezTo>
                    <a:pt x="565" y="412"/>
                    <a:pt x="565" y="412"/>
                    <a:pt x="565" y="412"/>
                  </a:cubicBezTo>
                  <a:cubicBezTo>
                    <a:pt x="568" y="417"/>
                    <a:pt x="569" y="423"/>
                    <a:pt x="569" y="429"/>
                  </a:cubicBezTo>
                  <a:cubicBezTo>
                    <a:pt x="569" y="449"/>
                    <a:pt x="556" y="466"/>
                    <a:pt x="537" y="471"/>
                  </a:cubicBezTo>
                  <a:cubicBezTo>
                    <a:pt x="537" y="472"/>
                    <a:pt x="537" y="472"/>
                    <a:pt x="537" y="472"/>
                  </a:cubicBezTo>
                  <a:cubicBezTo>
                    <a:pt x="537" y="472"/>
                    <a:pt x="537" y="472"/>
                    <a:pt x="537" y="472"/>
                  </a:cubicBezTo>
                  <a:cubicBezTo>
                    <a:pt x="533" y="473"/>
                    <a:pt x="533" y="473"/>
                    <a:pt x="533" y="473"/>
                  </a:cubicBezTo>
                  <a:cubicBezTo>
                    <a:pt x="530" y="473"/>
                    <a:pt x="527" y="473"/>
                    <a:pt x="524" y="473"/>
                  </a:cubicBezTo>
                  <a:lnTo>
                    <a:pt x="45" y="473"/>
                  </a:lnTo>
                  <a:close/>
                  <a:moveTo>
                    <a:pt x="281" y="14"/>
                  </a:moveTo>
                  <a:cubicBezTo>
                    <a:pt x="280" y="14"/>
                    <a:pt x="278" y="14"/>
                    <a:pt x="278" y="14"/>
                  </a:cubicBezTo>
                  <a:cubicBezTo>
                    <a:pt x="268" y="17"/>
                    <a:pt x="260" y="22"/>
                    <a:pt x="255" y="29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52" y="35"/>
                    <a:pt x="252" y="35"/>
                    <a:pt x="252" y="35"/>
                  </a:cubicBezTo>
                  <a:cubicBezTo>
                    <a:pt x="21" y="408"/>
                    <a:pt x="21" y="408"/>
                    <a:pt x="21" y="408"/>
                  </a:cubicBezTo>
                  <a:cubicBezTo>
                    <a:pt x="21" y="408"/>
                    <a:pt x="21" y="408"/>
                    <a:pt x="21" y="408"/>
                  </a:cubicBezTo>
                  <a:cubicBezTo>
                    <a:pt x="18" y="413"/>
                    <a:pt x="18" y="413"/>
                    <a:pt x="18" y="413"/>
                  </a:cubicBezTo>
                  <a:cubicBezTo>
                    <a:pt x="15" y="418"/>
                    <a:pt x="14" y="423"/>
                    <a:pt x="14" y="429"/>
                  </a:cubicBezTo>
                  <a:cubicBezTo>
                    <a:pt x="14" y="446"/>
                    <a:pt x="28" y="460"/>
                    <a:pt x="45" y="460"/>
                  </a:cubicBezTo>
                  <a:cubicBezTo>
                    <a:pt x="524" y="460"/>
                    <a:pt x="524" y="460"/>
                    <a:pt x="524" y="460"/>
                  </a:cubicBezTo>
                  <a:cubicBezTo>
                    <a:pt x="526" y="460"/>
                    <a:pt x="528" y="460"/>
                    <a:pt x="530" y="459"/>
                  </a:cubicBezTo>
                  <a:cubicBezTo>
                    <a:pt x="534" y="458"/>
                    <a:pt x="534" y="458"/>
                    <a:pt x="534" y="458"/>
                  </a:cubicBezTo>
                  <a:cubicBezTo>
                    <a:pt x="546" y="454"/>
                    <a:pt x="556" y="443"/>
                    <a:pt x="556" y="429"/>
                  </a:cubicBezTo>
                  <a:cubicBezTo>
                    <a:pt x="556" y="423"/>
                    <a:pt x="554" y="418"/>
                    <a:pt x="551" y="413"/>
                  </a:cubicBezTo>
                  <a:cubicBezTo>
                    <a:pt x="556" y="410"/>
                    <a:pt x="556" y="410"/>
                    <a:pt x="556" y="410"/>
                  </a:cubicBezTo>
                  <a:cubicBezTo>
                    <a:pt x="551" y="413"/>
                    <a:pt x="551" y="413"/>
                    <a:pt x="551" y="413"/>
                  </a:cubicBezTo>
                  <a:cubicBezTo>
                    <a:pt x="316" y="32"/>
                    <a:pt x="316" y="32"/>
                    <a:pt x="316" y="32"/>
                  </a:cubicBezTo>
                  <a:cubicBezTo>
                    <a:pt x="314" y="28"/>
                    <a:pt x="314" y="28"/>
                    <a:pt x="314" y="28"/>
                  </a:cubicBezTo>
                  <a:cubicBezTo>
                    <a:pt x="307" y="20"/>
                    <a:pt x="297" y="14"/>
                    <a:pt x="285" y="14"/>
                  </a:cubicBezTo>
                  <a:cubicBezTo>
                    <a:pt x="284" y="14"/>
                    <a:pt x="284" y="14"/>
                    <a:pt x="284" y="14"/>
                  </a:cubicBezTo>
                  <a:cubicBezTo>
                    <a:pt x="283" y="14"/>
                    <a:pt x="282" y="14"/>
                    <a:pt x="281" y="14"/>
                  </a:cubicBezTo>
                  <a:close/>
                </a:path>
              </a:pathLst>
            </a:custGeom>
            <a:solidFill>
              <a:srgbClr val="7F10A2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56" name="Freeform 5321"/>
            <p:cNvSpPr>
              <a:spLocks/>
            </p:cNvSpPr>
            <p:nvPr/>
          </p:nvSpPr>
          <p:spPr bwMode="auto">
            <a:xfrm>
              <a:off x="6921" y="4395"/>
              <a:ext cx="106" cy="135"/>
            </a:xfrm>
            <a:custGeom>
              <a:avLst/>
              <a:gdLst>
                <a:gd name="T0" fmla="*/ 2 w 226"/>
                <a:gd name="T1" fmla="*/ 2 h 285"/>
                <a:gd name="T2" fmla="*/ 2 w 226"/>
                <a:gd name="T3" fmla="*/ 2 h 285"/>
                <a:gd name="T4" fmla="*/ 2 w 226"/>
                <a:gd name="T5" fmla="*/ 2 h 285"/>
                <a:gd name="T6" fmla="*/ 2 w 226"/>
                <a:gd name="T7" fmla="*/ 3 h 285"/>
                <a:gd name="T8" fmla="*/ 1 w 226"/>
                <a:gd name="T9" fmla="*/ 3 h 285"/>
                <a:gd name="T10" fmla="*/ 0 w 226"/>
                <a:gd name="T11" fmla="*/ 2 h 285"/>
                <a:gd name="T12" fmla="*/ 1 w 226"/>
                <a:gd name="T13" fmla="*/ 2 h 285"/>
                <a:gd name="T14" fmla="*/ 2 w 226"/>
                <a:gd name="T15" fmla="*/ 2 h 285"/>
                <a:gd name="T16" fmla="*/ 2 w 226"/>
                <a:gd name="T17" fmla="*/ 1 h 285"/>
                <a:gd name="T18" fmla="*/ 1 w 226"/>
                <a:gd name="T19" fmla="*/ 1 h 285"/>
                <a:gd name="T20" fmla="*/ 1 w 226"/>
                <a:gd name="T21" fmla="*/ 1 h 285"/>
                <a:gd name="T22" fmla="*/ 1 w 226"/>
                <a:gd name="T23" fmla="*/ 0 h 285"/>
                <a:gd name="T24" fmla="*/ 1 w 226"/>
                <a:gd name="T25" fmla="*/ 0 h 285"/>
                <a:gd name="T26" fmla="*/ 1 w 226"/>
                <a:gd name="T27" fmla="*/ 0 h 285"/>
                <a:gd name="T28" fmla="*/ 2 w 226"/>
                <a:gd name="T29" fmla="*/ 1 h 285"/>
                <a:gd name="T30" fmla="*/ 2 w 226"/>
                <a:gd name="T31" fmla="*/ 0 h 285"/>
                <a:gd name="T32" fmla="*/ 2 w 226"/>
                <a:gd name="T33" fmla="*/ 0 h 285"/>
                <a:gd name="T34" fmla="*/ 2 w 226"/>
                <a:gd name="T35" fmla="*/ 0 h 285"/>
                <a:gd name="T36" fmla="*/ 2 w 226"/>
                <a:gd name="T37" fmla="*/ 0 h 285"/>
                <a:gd name="T38" fmla="*/ 1 w 226"/>
                <a:gd name="T39" fmla="*/ 0 h 285"/>
                <a:gd name="T40" fmla="*/ 1 w 226"/>
                <a:gd name="T41" fmla="*/ 0 h 285"/>
                <a:gd name="T42" fmla="*/ 1 w 226"/>
                <a:gd name="T43" fmla="*/ 0 h 285"/>
                <a:gd name="T44" fmla="*/ 1 w 226"/>
                <a:gd name="T45" fmla="*/ 0 h 285"/>
                <a:gd name="T46" fmla="*/ 1 w 226"/>
                <a:gd name="T47" fmla="*/ 0 h 285"/>
                <a:gd name="T48" fmla="*/ 0 w 226"/>
                <a:gd name="T49" fmla="*/ 1 h 285"/>
                <a:gd name="T50" fmla="*/ 0 w 226"/>
                <a:gd name="T51" fmla="*/ 1 h 285"/>
                <a:gd name="T52" fmla="*/ 0 w 226"/>
                <a:gd name="T53" fmla="*/ 2 h 285"/>
                <a:gd name="T54" fmla="*/ 1 w 226"/>
                <a:gd name="T55" fmla="*/ 3 h 285"/>
                <a:gd name="T56" fmla="*/ 1 w 226"/>
                <a:gd name="T57" fmla="*/ 3 h 285"/>
                <a:gd name="T58" fmla="*/ 1 w 226"/>
                <a:gd name="T59" fmla="*/ 3 h 285"/>
                <a:gd name="T60" fmla="*/ 2 w 226"/>
                <a:gd name="T61" fmla="*/ 3 h 285"/>
                <a:gd name="T62" fmla="*/ 2 w 226"/>
                <a:gd name="T63" fmla="*/ 3 h 285"/>
                <a:gd name="T64" fmla="*/ 2 w 226"/>
                <a:gd name="T65" fmla="*/ 3 h 285"/>
                <a:gd name="T66" fmla="*/ 2 w 226"/>
                <a:gd name="T67" fmla="*/ 3 h 285"/>
                <a:gd name="T68" fmla="*/ 2 w 226"/>
                <a:gd name="T69" fmla="*/ 3 h 285"/>
                <a:gd name="T70" fmla="*/ 2 w 226"/>
                <a:gd name="T71" fmla="*/ 2 h 28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26"/>
                <a:gd name="T109" fmla="*/ 0 h 285"/>
                <a:gd name="T110" fmla="*/ 226 w 226"/>
                <a:gd name="T111" fmla="*/ 285 h 28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26" h="285">
                  <a:moveTo>
                    <a:pt x="200" y="219"/>
                  </a:moveTo>
                  <a:cubicBezTo>
                    <a:pt x="198" y="217"/>
                    <a:pt x="196" y="216"/>
                    <a:pt x="194" y="216"/>
                  </a:cubicBezTo>
                  <a:cubicBezTo>
                    <a:pt x="190" y="216"/>
                    <a:pt x="187" y="219"/>
                    <a:pt x="187" y="223"/>
                  </a:cubicBezTo>
                  <a:cubicBezTo>
                    <a:pt x="187" y="231"/>
                    <a:pt x="187" y="231"/>
                    <a:pt x="187" y="231"/>
                  </a:cubicBezTo>
                  <a:cubicBezTo>
                    <a:pt x="73" y="231"/>
                    <a:pt x="73" y="231"/>
                    <a:pt x="73" y="231"/>
                  </a:cubicBezTo>
                  <a:cubicBezTo>
                    <a:pt x="54" y="231"/>
                    <a:pt x="38" y="216"/>
                    <a:pt x="38" y="196"/>
                  </a:cubicBezTo>
                  <a:cubicBezTo>
                    <a:pt x="38" y="177"/>
                    <a:pt x="54" y="161"/>
                    <a:pt x="73" y="161"/>
                  </a:cubicBezTo>
                  <a:cubicBezTo>
                    <a:pt x="157" y="161"/>
                    <a:pt x="157" y="161"/>
                    <a:pt x="157" y="161"/>
                  </a:cubicBezTo>
                  <a:cubicBezTo>
                    <a:pt x="157" y="123"/>
                    <a:pt x="157" y="123"/>
                    <a:pt x="157" y="123"/>
                  </a:cubicBezTo>
                  <a:cubicBezTo>
                    <a:pt x="123" y="123"/>
                    <a:pt x="123" y="123"/>
                    <a:pt x="123" y="123"/>
                  </a:cubicBezTo>
                  <a:cubicBezTo>
                    <a:pt x="104" y="123"/>
                    <a:pt x="88" y="108"/>
                    <a:pt x="88" y="88"/>
                  </a:cubicBezTo>
                  <a:cubicBezTo>
                    <a:pt x="88" y="69"/>
                    <a:pt x="104" y="53"/>
                    <a:pt x="123" y="53"/>
                  </a:cubicBezTo>
                  <a:cubicBezTo>
                    <a:pt x="150" y="53"/>
                    <a:pt x="150" y="53"/>
                    <a:pt x="150" y="53"/>
                  </a:cubicBezTo>
                  <a:cubicBezTo>
                    <a:pt x="150" y="62"/>
                    <a:pt x="150" y="62"/>
                    <a:pt x="150" y="62"/>
                  </a:cubicBezTo>
                  <a:cubicBezTo>
                    <a:pt x="150" y="66"/>
                    <a:pt x="153" y="69"/>
                    <a:pt x="157" y="69"/>
                  </a:cubicBezTo>
                  <a:cubicBezTo>
                    <a:pt x="159" y="69"/>
                    <a:pt x="161" y="68"/>
                    <a:pt x="163" y="66"/>
                  </a:cubicBezTo>
                  <a:cubicBezTo>
                    <a:pt x="189" y="34"/>
                    <a:pt x="189" y="34"/>
                    <a:pt x="189" y="34"/>
                  </a:cubicBezTo>
                  <a:cubicBezTo>
                    <a:pt x="163" y="3"/>
                    <a:pt x="163" y="3"/>
                    <a:pt x="163" y="3"/>
                  </a:cubicBezTo>
                  <a:cubicBezTo>
                    <a:pt x="161" y="1"/>
                    <a:pt x="159" y="0"/>
                    <a:pt x="157" y="0"/>
                  </a:cubicBezTo>
                  <a:cubicBezTo>
                    <a:pt x="153" y="0"/>
                    <a:pt x="150" y="3"/>
                    <a:pt x="150" y="7"/>
                  </a:cubicBezTo>
                  <a:cubicBezTo>
                    <a:pt x="150" y="7"/>
                    <a:pt x="150" y="12"/>
                    <a:pt x="150" y="15"/>
                  </a:cubicBezTo>
                  <a:cubicBezTo>
                    <a:pt x="126" y="15"/>
                    <a:pt x="126" y="15"/>
                    <a:pt x="126" y="15"/>
                  </a:cubicBezTo>
                  <a:cubicBezTo>
                    <a:pt x="124" y="15"/>
                    <a:pt x="124" y="15"/>
                    <a:pt x="124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83" y="15"/>
                    <a:pt x="50" y="48"/>
                    <a:pt x="50" y="88"/>
                  </a:cubicBezTo>
                  <a:cubicBezTo>
                    <a:pt x="50" y="101"/>
                    <a:pt x="53" y="114"/>
                    <a:pt x="60" y="125"/>
                  </a:cubicBezTo>
                  <a:cubicBezTo>
                    <a:pt x="26" y="131"/>
                    <a:pt x="0" y="161"/>
                    <a:pt x="0" y="196"/>
                  </a:cubicBezTo>
                  <a:cubicBezTo>
                    <a:pt x="0" y="237"/>
                    <a:pt x="33" y="269"/>
                    <a:pt x="73" y="269"/>
                  </a:cubicBezTo>
                  <a:cubicBezTo>
                    <a:pt x="74" y="269"/>
                    <a:pt x="74" y="269"/>
                    <a:pt x="74" y="269"/>
                  </a:cubicBezTo>
                  <a:cubicBezTo>
                    <a:pt x="76" y="269"/>
                    <a:pt x="76" y="269"/>
                    <a:pt x="76" y="269"/>
                  </a:cubicBezTo>
                  <a:cubicBezTo>
                    <a:pt x="76" y="269"/>
                    <a:pt x="181" y="269"/>
                    <a:pt x="187" y="269"/>
                  </a:cubicBezTo>
                  <a:cubicBezTo>
                    <a:pt x="187" y="273"/>
                    <a:pt x="187" y="278"/>
                    <a:pt x="187" y="278"/>
                  </a:cubicBezTo>
                  <a:cubicBezTo>
                    <a:pt x="187" y="282"/>
                    <a:pt x="190" y="285"/>
                    <a:pt x="194" y="285"/>
                  </a:cubicBezTo>
                  <a:cubicBezTo>
                    <a:pt x="196" y="285"/>
                    <a:pt x="198" y="284"/>
                    <a:pt x="200" y="282"/>
                  </a:cubicBezTo>
                  <a:cubicBezTo>
                    <a:pt x="226" y="250"/>
                    <a:pt x="226" y="250"/>
                    <a:pt x="226" y="250"/>
                  </a:cubicBezTo>
                  <a:lnTo>
                    <a:pt x="200" y="219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57" name="Freeform 5322"/>
            <p:cNvSpPr>
              <a:spLocks/>
            </p:cNvSpPr>
            <p:nvPr/>
          </p:nvSpPr>
          <p:spPr bwMode="auto">
            <a:xfrm>
              <a:off x="7042" y="4497"/>
              <a:ext cx="10" cy="32"/>
            </a:xfrm>
            <a:custGeom>
              <a:avLst/>
              <a:gdLst>
                <a:gd name="T0" fmla="*/ 0 w 21"/>
                <a:gd name="T1" fmla="*/ 0 h 69"/>
                <a:gd name="T2" fmla="*/ 0 w 21"/>
                <a:gd name="T3" fmla="*/ 0 h 69"/>
                <a:gd name="T4" fmla="*/ 0 w 21"/>
                <a:gd name="T5" fmla="*/ 0 h 69"/>
                <a:gd name="T6" fmla="*/ 0 w 21"/>
                <a:gd name="T7" fmla="*/ 0 h 69"/>
                <a:gd name="T8" fmla="*/ 0 w 21"/>
                <a:gd name="T9" fmla="*/ 0 h 69"/>
                <a:gd name="T10" fmla="*/ 0 w 21"/>
                <a:gd name="T11" fmla="*/ 0 h 69"/>
                <a:gd name="T12" fmla="*/ 0 w 21"/>
                <a:gd name="T13" fmla="*/ 0 h 6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"/>
                <a:gd name="T22" fmla="*/ 0 h 69"/>
                <a:gd name="T23" fmla="*/ 21 w 21"/>
                <a:gd name="T24" fmla="*/ 69 h 6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" h="69">
                  <a:moveTo>
                    <a:pt x="0" y="59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6" y="0"/>
                    <a:pt x="21" y="5"/>
                    <a:pt x="21" y="10"/>
                  </a:cubicBezTo>
                  <a:cubicBezTo>
                    <a:pt x="21" y="59"/>
                    <a:pt x="21" y="59"/>
                    <a:pt x="21" y="59"/>
                  </a:cubicBezTo>
                  <a:cubicBezTo>
                    <a:pt x="21" y="65"/>
                    <a:pt x="16" y="69"/>
                    <a:pt x="11" y="69"/>
                  </a:cubicBezTo>
                  <a:cubicBezTo>
                    <a:pt x="5" y="69"/>
                    <a:pt x="0" y="65"/>
                    <a:pt x="0" y="5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58" name="Oval 5323"/>
            <p:cNvSpPr>
              <a:spLocks noChangeArrowheads="1"/>
            </p:cNvSpPr>
            <p:nvPr/>
          </p:nvSpPr>
          <p:spPr bwMode="auto">
            <a:xfrm>
              <a:off x="7041" y="4480"/>
              <a:ext cx="12" cy="11"/>
            </a:xfrm>
            <a:prstGeom prst="ellipse">
              <a:avLst/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pPr eaLnBrk="0" hangingPunct="0">
                <a:lnSpc>
                  <a:spcPct val="90000"/>
                </a:lnSpc>
                <a:spcBef>
                  <a:spcPct val="30000"/>
                </a:spcBef>
                <a:buClr>
                  <a:schemeClr val="accent1"/>
                </a:buClr>
              </a:pPr>
              <a:endParaRPr lang="en-US"/>
            </a:p>
          </p:txBody>
        </p:sp>
      </p:grpSp>
      <p:grpSp>
        <p:nvGrpSpPr>
          <p:cNvPr id="86042" name="Group 5161"/>
          <p:cNvGrpSpPr>
            <a:grpSpLocks/>
          </p:cNvGrpSpPr>
          <p:nvPr/>
        </p:nvGrpSpPr>
        <p:grpSpPr bwMode="auto">
          <a:xfrm>
            <a:off x="1641476" y="4322792"/>
            <a:ext cx="646113" cy="682104"/>
            <a:chOff x="4418" y="2435"/>
            <a:chExt cx="268" cy="267"/>
          </a:xfrm>
        </p:grpSpPr>
        <p:sp>
          <p:nvSpPr>
            <p:cNvPr id="86150" name="Freeform 5162"/>
            <p:cNvSpPr>
              <a:spLocks/>
            </p:cNvSpPr>
            <p:nvPr/>
          </p:nvSpPr>
          <p:spPr bwMode="auto">
            <a:xfrm>
              <a:off x="4421" y="2438"/>
              <a:ext cx="261" cy="262"/>
            </a:xfrm>
            <a:custGeom>
              <a:avLst/>
              <a:gdLst>
                <a:gd name="T0" fmla="*/ 6 w 554"/>
                <a:gd name="T1" fmla="*/ 6 h 554"/>
                <a:gd name="T2" fmla="*/ 5 w 554"/>
                <a:gd name="T3" fmla="*/ 6 h 554"/>
                <a:gd name="T4" fmla="*/ 0 w 554"/>
                <a:gd name="T5" fmla="*/ 6 h 554"/>
                <a:gd name="T6" fmla="*/ 0 w 554"/>
                <a:gd name="T7" fmla="*/ 6 h 554"/>
                <a:gd name="T8" fmla="*/ 0 w 554"/>
                <a:gd name="T9" fmla="*/ 0 h 554"/>
                <a:gd name="T10" fmla="*/ 0 w 554"/>
                <a:gd name="T11" fmla="*/ 0 h 554"/>
                <a:gd name="T12" fmla="*/ 5 w 554"/>
                <a:gd name="T13" fmla="*/ 0 h 554"/>
                <a:gd name="T14" fmla="*/ 6 w 554"/>
                <a:gd name="T15" fmla="*/ 0 h 554"/>
                <a:gd name="T16" fmla="*/ 6 w 554"/>
                <a:gd name="T17" fmla="*/ 6 h 5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4"/>
                <a:gd name="T28" fmla="*/ 0 h 554"/>
                <a:gd name="T29" fmla="*/ 554 w 554"/>
                <a:gd name="T30" fmla="*/ 554 h 5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4" h="554">
                  <a:moveTo>
                    <a:pt x="554" y="491"/>
                  </a:moveTo>
                  <a:cubicBezTo>
                    <a:pt x="554" y="526"/>
                    <a:pt x="526" y="554"/>
                    <a:pt x="492" y="554"/>
                  </a:cubicBezTo>
                  <a:cubicBezTo>
                    <a:pt x="63" y="554"/>
                    <a:pt x="63" y="554"/>
                    <a:pt x="63" y="554"/>
                  </a:cubicBezTo>
                  <a:cubicBezTo>
                    <a:pt x="28" y="554"/>
                    <a:pt x="0" y="526"/>
                    <a:pt x="0" y="491"/>
                  </a:cubicBezTo>
                  <a:cubicBezTo>
                    <a:pt x="0" y="62"/>
                    <a:pt x="0" y="62"/>
                    <a:pt x="0" y="62"/>
                  </a:cubicBezTo>
                  <a:cubicBezTo>
                    <a:pt x="0" y="28"/>
                    <a:pt x="28" y="0"/>
                    <a:pt x="63" y="0"/>
                  </a:cubicBezTo>
                  <a:cubicBezTo>
                    <a:pt x="492" y="0"/>
                    <a:pt x="492" y="0"/>
                    <a:pt x="492" y="0"/>
                  </a:cubicBezTo>
                  <a:cubicBezTo>
                    <a:pt x="526" y="0"/>
                    <a:pt x="554" y="28"/>
                    <a:pt x="554" y="62"/>
                  </a:cubicBezTo>
                  <a:lnTo>
                    <a:pt x="554" y="491"/>
                  </a:lnTo>
                  <a:close/>
                </a:path>
              </a:pathLst>
            </a:custGeom>
            <a:gradFill rotWithShape="0">
              <a:gsLst>
                <a:gs pos="0">
                  <a:srgbClr val="C3C7CC"/>
                </a:gs>
                <a:gs pos="100000">
                  <a:srgbClr val="89929B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51" name="Freeform 5163"/>
            <p:cNvSpPr>
              <a:spLocks noEditPoints="1"/>
            </p:cNvSpPr>
            <p:nvPr/>
          </p:nvSpPr>
          <p:spPr bwMode="auto">
            <a:xfrm>
              <a:off x="4418" y="2435"/>
              <a:ext cx="268" cy="267"/>
            </a:xfrm>
            <a:custGeom>
              <a:avLst/>
              <a:gdLst>
                <a:gd name="T0" fmla="*/ 1 w 567"/>
                <a:gd name="T1" fmla="*/ 6 h 567"/>
                <a:gd name="T2" fmla="*/ 0 w 567"/>
                <a:gd name="T3" fmla="*/ 5 h 567"/>
                <a:gd name="T4" fmla="*/ 0 w 567"/>
                <a:gd name="T5" fmla="*/ 0 h 567"/>
                <a:gd name="T6" fmla="*/ 1 w 567"/>
                <a:gd name="T7" fmla="*/ 0 h 567"/>
                <a:gd name="T8" fmla="*/ 6 w 567"/>
                <a:gd name="T9" fmla="*/ 0 h 567"/>
                <a:gd name="T10" fmla="*/ 6 w 567"/>
                <a:gd name="T11" fmla="*/ 0 h 567"/>
                <a:gd name="T12" fmla="*/ 6 w 567"/>
                <a:gd name="T13" fmla="*/ 0 h 567"/>
                <a:gd name="T14" fmla="*/ 6 w 567"/>
                <a:gd name="T15" fmla="*/ 5 h 567"/>
                <a:gd name="T16" fmla="*/ 6 w 567"/>
                <a:gd name="T17" fmla="*/ 6 h 567"/>
                <a:gd name="T18" fmla="*/ 1 w 567"/>
                <a:gd name="T19" fmla="*/ 6 h 567"/>
                <a:gd name="T20" fmla="*/ 0 w 567"/>
                <a:gd name="T21" fmla="*/ 0 h 567"/>
                <a:gd name="T22" fmla="*/ 0 w 567"/>
                <a:gd name="T23" fmla="*/ 5 h 567"/>
                <a:gd name="T24" fmla="*/ 1 w 567"/>
                <a:gd name="T25" fmla="*/ 6 h 567"/>
                <a:gd name="T26" fmla="*/ 6 w 567"/>
                <a:gd name="T27" fmla="*/ 6 h 567"/>
                <a:gd name="T28" fmla="*/ 6 w 567"/>
                <a:gd name="T29" fmla="*/ 5 h 567"/>
                <a:gd name="T30" fmla="*/ 6 w 567"/>
                <a:gd name="T31" fmla="*/ 1 h 567"/>
                <a:gd name="T32" fmla="*/ 6 w 567"/>
                <a:gd name="T33" fmla="*/ 0 h 567"/>
                <a:gd name="T34" fmla="*/ 6 w 567"/>
                <a:gd name="T35" fmla="*/ 0 h 567"/>
                <a:gd name="T36" fmla="*/ 1 w 567"/>
                <a:gd name="T37" fmla="*/ 0 h 567"/>
                <a:gd name="T38" fmla="*/ 0 w 567"/>
                <a:gd name="T39" fmla="*/ 0 h 56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67"/>
                <a:gd name="T61" fmla="*/ 0 h 567"/>
                <a:gd name="T62" fmla="*/ 567 w 567"/>
                <a:gd name="T63" fmla="*/ 567 h 56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67" h="567">
                  <a:moveTo>
                    <a:pt x="69" y="567"/>
                  </a:moveTo>
                  <a:cubicBezTo>
                    <a:pt x="31" y="567"/>
                    <a:pt x="0" y="536"/>
                    <a:pt x="0" y="498"/>
                  </a:cubicBezTo>
                  <a:cubicBezTo>
                    <a:pt x="0" y="69"/>
                    <a:pt x="0" y="69"/>
                    <a:pt x="0" y="69"/>
                  </a:cubicBezTo>
                  <a:cubicBezTo>
                    <a:pt x="0" y="31"/>
                    <a:pt x="31" y="0"/>
                    <a:pt x="69" y="0"/>
                  </a:cubicBezTo>
                  <a:cubicBezTo>
                    <a:pt x="498" y="0"/>
                    <a:pt x="498" y="0"/>
                    <a:pt x="498" y="0"/>
                  </a:cubicBezTo>
                  <a:cubicBezTo>
                    <a:pt x="535" y="0"/>
                    <a:pt x="566" y="30"/>
                    <a:pt x="567" y="68"/>
                  </a:cubicBezTo>
                  <a:cubicBezTo>
                    <a:pt x="567" y="68"/>
                    <a:pt x="567" y="68"/>
                    <a:pt x="567" y="68"/>
                  </a:cubicBezTo>
                  <a:cubicBezTo>
                    <a:pt x="567" y="498"/>
                    <a:pt x="567" y="498"/>
                    <a:pt x="567" y="498"/>
                  </a:cubicBezTo>
                  <a:cubicBezTo>
                    <a:pt x="567" y="536"/>
                    <a:pt x="536" y="567"/>
                    <a:pt x="498" y="567"/>
                  </a:cubicBezTo>
                  <a:lnTo>
                    <a:pt x="69" y="567"/>
                  </a:lnTo>
                  <a:close/>
                  <a:moveTo>
                    <a:pt x="13" y="69"/>
                  </a:moveTo>
                  <a:cubicBezTo>
                    <a:pt x="13" y="498"/>
                    <a:pt x="13" y="498"/>
                    <a:pt x="13" y="498"/>
                  </a:cubicBezTo>
                  <a:cubicBezTo>
                    <a:pt x="13" y="529"/>
                    <a:pt x="38" y="554"/>
                    <a:pt x="69" y="554"/>
                  </a:cubicBezTo>
                  <a:cubicBezTo>
                    <a:pt x="498" y="554"/>
                    <a:pt x="498" y="554"/>
                    <a:pt x="498" y="554"/>
                  </a:cubicBezTo>
                  <a:cubicBezTo>
                    <a:pt x="529" y="554"/>
                    <a:pt x="554" y="529"/>
                    <a:pt x="554" y="498"/>
                  </a:cubicBezTo>
                  <a:cubicBezTo>
                    <a:pt x="554" y="70"/>
                    <a:pt x="554" y="70"/>
                    <a:pt x="554" y="70"/>
                  </a:cubicBezTo>
                  <a:cubicBezTo>
                    <a:pt x="554" y="69"/>
                    <a:pt x="554" y="69"/>
                    <a:pt x="554" y="69"/>
                  </a:cubicBezTo>
                  <a:cubicBezTo>
                    <a:pt x="554" y="38"/>
                    <a:pt x="529" y="13"/>
                    <a:pt x="498" y="13"/>
                  </a:cubicBezTo>
                  <a:cubicBezTo>
                    <a:pt x="69" y="13"/>
                    <a:pt x="69" y="13"/>
                    <a:pt x="69" y="13"/>
                  </a:cubicBezTo>
                  <a:cubicBezTo>
                    <a:pt x="38" y="13"/>
                    <a:pt x="13" y="38"/>
                    <a:pt x="13" y="69"/>
                  </a:cubicBezTo>
                  <a:close/>
                </a:path>
              </a:pathLst>
            </a:custGeom>
            <a:solidFill>
              <a:srgbClr val="89929B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52" name="Freeform 5164"/>
            <p:cNvSpPr>
              <a:spLocks noEditPoints="1"/>
            </p:cNvSpPr>
            <p:nvPr/>
          </p:nvSpPr>
          <p:spPr bwMode="auto">
            <a:xfrm>
              <a:off x="4444" y="2467"/>
              <a:ext cx="215" cy="204"/>
            </a:xfrm>
            <a:custGeom>
              <a:avLst/>
              <a:gdLst>
                <a:gd name="T0" fmla="*/ 5 w 455"/>
                <a:gd name="T1" fmla="*/ 0 h 432"/>
                <a:gd name="T2" fmla="*/ 5 w 455"/>
                <a:gd name="T3" fmla="*/ 0 h 432"/>
                <a:gd name="T4" fmla="*/ 4 w 455"/>
                <a:gd name="T5" fmla="*/ 0 h 432"/>
                <a:gd name="T6" fmla="*/ 4 w 455"/>
                <a:gd name="T7" fmla="*/ 0 h 432"/>
                <a:gd name="T8" fmla="*/ 4 w 455"/>
                <a:gd name="T9" fmla="*/ 0 h 432"/>
                <a:gd name="T10" fmla="*/ 3 w 455"/>
                <a:gd name="T11" fmla="*/ 0 h 432"/>
                <a:gd name="T12" fmla="*/ 2 w 455"/>
                <a:gd name="T13" fmla="*/ 0 h 432"/>
                <a:gd name="T14" fmla="*/ 2 w 455"/>
                <a:gd name="T15" fmla="*/ 0 h 432"/>
                <a:gd name="T16" fmla="*/ 2 w 455"/>
                <a:gd name="T17" fmla="*/ 0 h 432"/>
                <a:gd name="T18" fmla="*/ 0 w 455"/>
                <a:gd name="T19" fmla="*/ 2 h 432"/>
                <a:gd name="T20" fmla="*/ 1 w 455"/>
                <a:gd name="T21" fmla="*/ 4 h 432"/>
                <a:gd name="T22" fmla="*/ 0 w 455"/>
                <a:gd name="T23" fmla="*/ 4 h 432"/>
                <a:gd name="T24" fmla="*/ 0 w 455"/>
                <a:gd name="T25" fmla="*/ 4 h 432"/>
                <a:gd name="T26" fmla="*/ 0 w 455"/>
                <a:gd name="T27" fmla="*/ 4 h 432"/>
                <a:gd name="T28" fmla="*/ 0 w 455"/>
                <a:gd name="T29" fmla="*/ 4 h 432"/>
                <a:gd name="T30" fmla="*/ 0 w 455"/>
                <a:gd name="T31" fmla="*/ 4 h 432"/>
                <a:gd name="T32" fmla="*/ 0 w 455"/>
                <a:gd name="T33" fmla="*/ 4 h 432"/>
                <a:gd name="T34" fmla="*/ 0 w 455"/>
                <a:gd name="T35" fmla="*/ 5 h 432"/>
                <a:gd name="T36" fmla="*/ 0 w 455"/>
                <a:gd name="T37" fmla="*/ 5 h 432"/>
                <a:gd name="T38" fmla="*/ 0 w 455"/>
                <a:gd name="T39" fmla="*/ 5 h 432"/>
                <a:gd name="T40" fmla="*/ 0 w 455"/>
                <a:gd name="T41" fmla="*/ 5 h 432"/>
                <a:gd name="T42" fmla="*/ 0 w 455"/>
                <a:gd name="T43" fmla="*/ 4 h 432"/>
                <a:gd name="T44" fmla="*/ 2 w 455"/>
                <a:gd name="T45" fmla="*/ 4 h 432"/>
                <a:gd name="T46" fmla="*/ 2 w 455"/>
                <a:gd name="T47" fmla="*/ 4 h 432"/>
                <a:gd name="T48" fmla="*/ 2 w 455"/>
                <a:gd name="T49" fmla="*/ 4 h 432"/>
                <a:gd name="T50" fmla="*/ 2 w 455"/>
                <a:gd name="T51" fmla="*/ 4 h 432"/>
                <a:gd name="T52" fmla="*/ 5 w 455"/>
                <a:gd name="T53" fmla="*/ 2 h 432"/>
                <a:gd name="T54" fmla="*/ 4 w 455"/>
                <a:gd name="T55" fmla="*/ 0 h 432"/>
                <a:gd name="T56" fmla="*/ 4 w 455"/>
                <a:gd name="T57" fmla="*/ 0 h 432"/>
                <a:gd name="T58" fmla="*/ 4 w 455"/>
                <a:gd name="T59" fmla="*/ 0 h 432"/>
                <a:gd name="T60" fmla="*/ 4 w 455"/>
                <a:gd name="T61" fmla="*/ 1 h 432"/>
                <a:gd name="T62" fmla="*/ 5 w 455"/>
                <a:gd name="T63" fmla="*/ 1 h 432"/>
                <a:gd name="T64" fmla="*/ 5 w 455"/>
                <a:gd name="T65" fmla="*/ 1 h 432"/>
                <a:gd name="T66" fmla="*/ 5 w 455"/>
                <a:gd name="T67" fmla="*/ 0 h 432"/>
                <a:gd name="T68" fmla="*/ 5 w 455"/>
                <a:gd name="T69" fmla="*/ 0 h 432"/>
                <a:gd name="T70" fmla="*/ 4 w 455"/>
                <a:gd name="T71" fmla="*/ 2 h 432"/>
                <a:gd name="T72" fmla="*/ 2 w 455"/>
                <a:gd name="T73" fmla="*/ 4 h 432"/>
                <a:gd name="T74" fmla="*/ 1 w 455"/>
                <a:gd name="T75" fmla="*/ 2 h 432"/>
                <a:gd name="T76" fmla="*/ 2 w 455"/>
                <a:gd name="T77" fmla="*/ 0 h 432"/>
                <a:gd name="T78" fmla="*/ 4 w 455"/>
                <a:gd name="T79" fmla="*/ 2 h 432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455"/>
                <a:gd name="T121" fmla="*/ 0 h 432"/>
                <a:gd name="T122" fmla="*/ 455 w 455"/>
                <a:gd name="T123" fmla="*/ 432 h 432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455" h="432">
                  <a:moveTo>
                    <a:pt x="425" y="3"/>
                  </a:moveTo>
                  <a:cubicBezTo>
                    <a:pt x="423" y="1"/>
                    <a:pt x="421" y="0"/>
                    <a:pt x="419" y="0"/>
                  </a:cubicBezTo>
                  <a:cubicBezTo>
                    <a:pt x="414" y="0"/>
                    <a:pt x="411" y="4"/>
                    <a:pt x="411" y="8"/>
                  </a:cubicBezTo>
                  <a:cubicBezTo>
                    <a:pt x="411" y="8"/>
                    <a:pt x="411" y="14"/>
                    <a:pt x="411" y="18"/>
                  </a:cubicBezTo>
                  <a:cubicBezTo>
                    <a:pt x="411" y="19"/>
                    <a:pt x="411" y="19"/>
                    <a:pt x="411" y="19"/>
                  </a:cubicBezTo>
                  <a:cubicBezTo>
                    <a:pt x="230" y="19"/>
                    <a:pt x="230" y="19"/>
                    <a:pt x="230" y="19"/>
                  </a:cubicBezTo>
                  <a:cubicBezTo>
                    <a:pt x="229" y="19"/>
                    <a:pt x="229" y="19"/>
                    <a:pt x="229" y="19"/>
                  </a:cubicBezTo>
                  <a:cubicBezTo>
                    <a:pt x="228" y="19"/>
                    <a:pt x="228" y="19"/>
                    <a:pt x="228" y="19"/>
                  </a:cubicBezTo>
                  <a:cubicBezTo>
                    <a:pt x="228" y="19"/>
                    <a:pt x="227" y="19"/>
                    <a:pt x="227" y="19"/>
                  </a:cubicBezTo>
                  <a:cubicBezTo>
                    <a:pt x="118" y="19"/>
                    <a:pt x="30" y="108"/>
                    <a:pt x="30" y="216"/>
                  </a:cubicBezTo>
                  <a:cubicBezTo>
                    <a:pt x="30" y="281"/>
                    <a:pt x="61" y="338"/>
                    <a:pt x="109" y="374"/>
                  </a:cubicBezTo>
                  <a:cubicBezTo>
                    <a:pt x="44" y="374"/>
                    <a:pt x="44" y="374"/>
                    <a:pt x="44" y="374"/>
                  </a:cubicBezTo>
                  <a:cubicBezTo>
                    <a:pt x="44" y="371"/>
                    <a:pt x="44" y="371"/>
                    <a:pt x="44" y="371"/>
                  </a:cubicBezTo>
                  <a:cubicBezTo>
                    <a:pt x="44" y="362"/>
                    <a:pt x="44" y="362"/>
                    <a:pt x="44" y="362"/>
                  </a:cubicBezTo>
                  <a:cubicBezTo>
                    <a:pt x="44" y="357"/>
                    <a:pt x="41" y="354"/>
                    <a:pt x="36" y="354"/>
                  </a:cubicBezTo>
                  <a:cubicBezTo>
                    <a:pt x="34" y="354"/>
                    <a:pt x="32" y="355"/>
                    <a:pt x="30" y="357"/>
                  </a:cubicBezTo>
                  <a:cubicBezTo>
                    <a:pt x="0" y="393"/>
                    <a:pt x="0" y="393"/>
                    <a:pt x="0" y="393"/>
                  </a:cubicBezTo>
                  <a:cubicBezTo>
                    <a:pt x="30" y="429"/>
                    <a:pt x="30" y="429"/>
                    <a:pt x="30" y="429"/>
                  </a:cubicBezTo>
                  <a:cubicBezTo>
                    <a:pt x="31" y="431"/>
                    <a:pt x="34" y="432"/>
                    <a:pt x="36" y="432"/>
                  </a:cubicBezTo>
                  <a:cubicBezTo>
                    <a:pt x="41" y="432"/>
                    <a:pt x="44" y="429"/>
                    <a:pt x="44" y="424"/>
                  </a:cubicBezTo>
                  <a:cubicBezTo>
                    <a:pt x="44" y="424"/>
                    <a:pt x="44" y="419"/>
                    <a:pt x="44" y="415"/>
                  </a:cubicBezTo>
                  <a:cubicBezTo>
                    <a:pt x="44" y="413"/>
                    <a:pt x="44" y="413"/>
                    <a:pt x="44" y="413"/>
                  </a:cubicBezTo>
                  <a:cubicBezTo>
                    <a:pt x="217" y="413"/>
                    <a:pt x="217" y="413"/>
                    <a:pt x="217" y="413"/>
                  </a:cubicBezTo>
                  <a:cubicBezTo>
                    <a:pt x="219" y="413"/>
                    <a:pt x="219" y="413"/>
                    <a:pt x="219" y="413"/>
                  </a:cubicBezTo>
                  <a:cubicBezTo>
                    <a:pt x="220" y="413"/>
                    <a:pt x="220" y="413"/>
                    <a:pt x="220" y="413"/>
                  </a:cubicBezTo>
                  <a:cubicBezTo>
                    <a:pt x="222" y="413"/>
                    <a:pt x="224" y="413"/>
                    <a:pt x="227" y="413"/>
                  </a:cubicBezTo>
                  <a:cubicBezTo>
                    <a:pt x="335" y="413"/>
                    <a:pt x="423" y="325"/>
                    <a:pt x="423" y="216"/>
                  </a:cubicBezTo>
                  <a:cubicBezTo>
                    <a:pt x="423" y="152"/>
                    <a:pt x="392" y="94"/>
                    <a:pt x="344" y="59"/>
                  </a:cubicBezTo>
                  <a:cubicBezTo>
                    <a:pt x="411" y="59"/>
                    <a:pt x="411" y="59"/>
                    <a:pt x="411" y="59"/>
                  </a:cubicBezTo>
                  <a:cubicBezTo>
                    <a:pt x="411" y="61"/>
                    <a:pt x="411" y="61"/>
                    <a:pt x="411" y="61"/>
                  </a:cubicBezTo>
                  <a:cubicBezTo>
                    <a:pt x="411" y="71"/>
                    <a:pt x="411" y="71"/>
                    <a:pt x="411" y="71"/>
                  </a:cubicBezTo>
                  <a:cubicBezTo>
                    <a:pt x="411" y="75"/>
                    <a:pt x="414" y="79"/>
                    <a:pt x="419" y="79"/>
                  </a:cubicBezTo>
                  <a:cubicBezTo>
                    <a:pt x="421" y="79"/>
                    <a:pt x="423" y="78"/>
                    <a:pt x="425" y="76"/>
                  </a:cubicBezTo>
                  <a:cubicBezTo>
                    <a:pt x="455" y="39"/>
                    <a:pt x="455" y="39"/>
                    <a:pt x="455" y="39"/>
                  </a:cubicBezTo>
                  <a:lnTo>
                    <a:pt x="425" y="3"/>
                  </a:lnTo>
                  <a:close/>
                  <a:moveTo>
                    <a:pt x="384" y="216"/>
                  </a:moveTo>
                  <a:cubicBezTo>
                    <a:pt x="384" y="303"/>
                    <a:pt x="314" y="374"/>
                    <a:pt x="227" y="374"/>
                  </a:cubicBezTo>
                  <a:cubicBezTo>
                    <a:pt x="139" y="374"/>
                    <a:pt x="69" y="303"/>
                    <a:pt x="69" y="216"/>
                  </a:cubicBezTo>
                  <a:cubicBezTo>
                    <a:pt x="69" y="129"/>
                    <a:pt x="139" y="59"/>
                    <a:pt x="227" y="59"/>
                  </a:cubicBezTo>
                  <a:cubicBezTo>
                    <a:pt x="314" y="59"/>
                    <a:pt x="384" y="129"/>
                    <a:pt x="384" y="216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6043" name="Group 1279"/>
          <p:cNvGrpSpPr>
            <a:grpSpLocks/>
          </p:cNvGrpSpPr>
          <p:nvPr/>
        </p:nvGrpSpPr>
        <p:grpSpPr bwMode="auto">
          <a:xfrm>
            <a:off x="1619250" y="5231704"/>
            <a:ext cx="687388" cy="616582"/>
            <a:chOff x="5599" y="4325"/>
            <a:chExt cx="270" cy="229"/>
          </a:xfrm>
        </p:grpSpPr>
        <p:sp>
          <p:nvSpPr>
            <p:cNvPr id="86146" name="Freeform 1280"/>
            <p:cNvSpPr>
              <a:spLocks/>
            </p:cNvSpPr>
            <p:nvPr/>
          </p:nvSpPr>
          <p:spPr bwMode="auto">
            <a:xfrm>
              <a:off x="5839" y="4539"/>
              <a:ext cx="2" cy="0"/>
            </a:xfrm>
            <a:custGeom>
              <a:avLst/>
              <a:gdLst>
                <a:gd name="T0" fmla="*/ 1 w 4"/>
                <a:gd name="T1" fmla="*/ 0 w 4"/>
                <a:gd name="T2" fmla="*/ 1 w 4"/>
                <a:gd name="T3" fmla="*/ 0 60000 65536"/>
                <a:gd name="T4" fmla="*/ 0 60000 65536"/>
                <a:gd name="T5" fmla="*/ 0 60000 65536"/>
                <a:gd name="T6" fmla="*/ 0 w 4"/>
                <a:gd name="T7" fmla="*/ 4 w 4"/>
              </a:gdLst>
              <a:ahLst/>
              <a:cxnLst>
                <a:cxn ang="T3">
                  <a:pos x="T0" y="0"/>
                </a:cxn>
                <a:cxn ang="T4">
                  <a:pos x="T1" y="0"/>
                </a:cxn>
                <a:cxn ang="T5">
                  <a:pos x="T2" y="0"/>
                </a:cxn>
              </a:cxnLst>
              <a:rect l="T6" t="0" r="T7" b="0"/>
              <a:pathLst>
                <a:path w="4">
                  <a:moveTo>
                    <a:pt x="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" y="0"/>
                    <a:pt x="3" y="0"/>
                    <a:pt x="4" y="0"/>
                  </a:cubicBezTo>
                </a:path>
              </a:pathLst>
            </a:custGeom>
            <a:solidFill>
              <a:srgbClr val="1A171B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47" name="Freeform 1281"/>
            <p:cNvSpPr>
              <a:spLocks/>
            </p:cNvSpPr>
            <p:nvPr/>
          </p:nvSpPr>
          <p:spPr bwMode="auto">
            <a:xfrm>
              <a:off x="5602" y="4328"/>
              <a:ext cx="263" cy="223"/>
            </a:xfrm>
            <a:custGeom>
              <a:avLst/>
              <a:gdLst>
                <a:gd name="T0" fmla="*/ 6 w 557"/>
                <a:gd name="T1" fmla="*/ 4 h 473"/>
                <a:gd name="T2" fmla="*/ 6 w 557"/>
                <a:gd name="T3" fmla="*/ 4 h 473"/>
                <a:gd name="T4" fmla="*/ 4 w 557"/>
                <a:gd name="T5" fmla="*/ 0 h 473"/>
                <a:gd name="T6" fmla="*/ 4 w 557"/>
                <a:gd name="T7" fmla="*/ 0 h 473"/>
                <a:gd name="T8" fmla="*/ 3 w 557"/>
                <a:gd name="T9" fmla="*/ 0 h 473"/>
                <a:gd name="T10" fmla="*/ 3 w 557"/>
                <a:gd name="T11" fmla="*/ 0 h 473"/>
                <a:gd name="T12" fmla="*/ 3 w 557"/>
                <a:gd name="T13" fmla="*/ 0 h 473"/>
                <a:gd name="T14" fmla="*/ 3 w 557"/>
                <a:gd name="T15" fmla="*/ 0 h 473"/>
                <a:gd name="T16" fmla="*/ 3 w 557"/>
                <a:gd name="T17" fmla="*/ 0 h 473"/>
                <a:gd name="T18" fmla="*/ 3 w 557"/>
                <a:gd name="T19" fmla="*/ 0 h 473"/>
                <a:gd name="T20" fmla="*/ 0 w 557"/>
                <a:gd name="T21" fmla="*/ 4 h 473"/>
                <a:gd name="T22" fmla="*/ 0 w 557"/>
                <a:gd name="T23" fmla="*/ 4 h 473"/>
                <a:gd name="T24" fmla="*/ 0 w 557"/>
                <a:gd name="T25" fmla="*/ 5 h 473"/>
                <a:gd name="T26" fmla="*/ 0 w 557"/>
                <a:gd name="T27" fmla="*/ 5 h 473"/>
                <a:gd name="T28" fmla="*/ 6 w 557"/>
                <a:gd name="T29" fmla="*/ 5 h 473"/>
                <a:gd name="T30" fmla="*/ 6 w 557"/>
                <a:gd name="T31" fmla="*/ 5 h 473"/>
                <a:gd name="T32" fmla="*/ 6 w 557"/>
                <a:gd name="T33" fmla="*/ 5 h 473"/>
                <a:gd name="T34" fmla="*/ 6 w 557"/>
                <a:gd name="T35" fmla="*/ 5 h 473"/>
                <a:gd name="T36" fmla="*/ 6 w 557"/>
                <a:gd name="T37" fmla="*/ 4 h 473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7"/>
                <a:gd name="T58" fmla="*/ 0 h 473"/>
                <a:gd name="T59" fmla="*/ 557 w 557"/>
                <a:gd name="T60" fmla="*/ 473 h 473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7" h="473">
                  <a:moveTo>
                    <a:pt x="551" y="414"/>
                  </a:moveTo>
                  <a:cubicBezTo>
                    <a:pt x="551" y="414"/>
                    <a:pt x="551" y="414"/>
                    <a:pt x="551" y="414"/>
                  </a:cubicBezTo>
                  <a:cubicBezTo>
                    <a:pt x="316" y="22"/>
                    <a:pt x="316" y="22"/>
                    <a:pt x="316" y="22"/>
                  </a:cubicBezTo>
                  <a:cubicBezTo>
                    <a:pt x="313" y="18"/>
                    <a:pt x="313" y="18"/>
                    <a:pt x="313" y="18"/>
                  </a:cubicBezTo>
                  <a:cubicBezTo>
                    <a:pt x="306" y="7"/>
                    <a:pt x="293" y="0"/>
                    <a:pt x="279" y="0"/>
                  </a:cubicBezTo>
                  <a:cubicBezTo>
                    <a:pt x="277" y="0"/>
                    <a:pt x="275" y="0"/>
                    <a:pt x="274" y="0"/>
                  </a:cubicBezTo>
                  <a:cubicBezTo>
                    <a:pt x="273" y="0"/>
                    <a:pt x="271" y="0"/>
                    <a:pt x="270" y="1"/>
                  </a:cubicBezTo>
                  <a:cubicBezTo>
                    <a:pt x="259" y="4"/>
                    <a:pt x="249" y="10"/>
                    <a:pt x="243" y="19"/>
                  </a:cubicBezTo>
                  <a:cubicBezTo>
                    <a:pt x="241" y="22"/>
                    <a:pt x="241" y="22"/>
                    <a:pt x="241" y="22"/>
                  </a:cubicBezTo>
                  <a:cubicBezTo>
                    <a:pt x="240" y="25"/>
                    <a:pt x="240" y="25"/>
                    <a:pt x="240" y="25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6" y="414"/>
                    <a:pt x="6" y="414"/>
                    <a:pt x="6" y="414"/>
                  </a:cubicBezTo>
                  <a:cubicBezTo>
                    <a:pt x="3" y="420"/>
                    <a:pt x="0" y="427"/>
                    <a:pt x="0" y="434"/>
                  </a:cubicBezTo>
                  <a:cubicBezTo>
                    <a:pt x="0" y="455"/>
                    <a:pt x="18" y="473"/>
                    <a:pt x="39" y="473"/>
                  </a:cubicBezTo>
                  <a:cubicBezTo>
                    <a:pt x="518" y="473"/>
                    <a:pt x="518" y="473"/>
                    <a:pt x="518" y="473"/>
                  </a:cubicBezTo>
                  <a:cubicBezTo>
                    <a:pt x="521" y="473"/>
                    <a:pt x="523" y="472"/>
                    <a:pt x="526" y="472"/>
                  </a:cubicBezTo>
                  <a:cubicBezTo>
                    <a:pt x="530" y="471"/>
                    <a:pt x="530" y="471"/>
                    <a:pt x="530" y="471"/>
                  </a:cubicBezTo>
                  <a:cubicBezTo>
                    <a:pt x="545" y="466"/>
                    <a:pt x="557" y="451"/>
                    <a:pt x="557" y="434"/>
                  </a:cubicBezTo>
                  <a:cubicBezTo>
                    <a:pt x="557" y="427"/>
                    <a:pt x="555" y="420"/>
                    <a:pt x="551" y="414"/>
                  </a:cubicBezTo>
                </a:path>
              </a:pathLst>
            </a:custGeom>
            <a:gradFill rotWithShape="0">
              <a:gsLst>
                <a:gs pos="0">
                  <a:srgbClr val="FFD67D"/>
                </a:gs>
                <a:gs pos="100000">
                  <a:srgbClr val="FFAF00"/>
                </a:gs>
              </a:gsLst>
              <a:lin ang="5400000" scaled="1"/>
            </a:gra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48" name="Freeform 1282"/>
            <p:cNvSpPr>
              <a:spLocks noEditPoints="1"/>
            </p:cNvSpPr>
            <p:nvPr/>
          </p:nvSpPr>
          <p:spPr bwMode="auto">
            <a:xfrm>
              <a:off x="5599" y="4325"/>
              <a:ext cx="270" cy="229"/>
            </a:xfrm>
            <a:custGeom>
              <a:avLst/>
              <a:gdLst>
                <a:gd name="T0" fmla="*/ 0 w 570"/>
                <a:gd name="T1" fmla="*/ 5 h 486"/>
                <a:gd name="T2" fmla="*/ 0 w 570"/>
                <a:gd name="T3" fmla="*/ 5 h 486"/>
                <a:gd name="T4" fmla="*/ 0 w 570"/>
                <a:gd name="T5" fmla="*/ 5 h 486"/>
                <a:gd name="T6" fmla="*/ 0 w 570"/>
                <a:gd name="T7" fmla="*/ 5 h 486"/>
                <a:gd name="T8" fmla="*/ 3 w 570"/>
                <a:gd name="T9" fmla="*/ 0 h 486"/>
                <a:gd name="T10" fmla="*/ 3 w 570"/>
                <a:gd name="T11" fmla="*/ 0 h 486"/>
                <a:gd name="T12" fmla="*/ 3 w 570"/>
                <a:gd name="T13" fmla="*/ 0 h 486"/>
                <a:gd name="T14" fmla="*/ 3 w 570"/>
                <a:gd name="T15" fmla="*/ 0 h 486"/>
                <a:gd name="T16" fmla="*/ 3 w 570"/>
                <a:gd name="T17" fmla="*/ 0 h 486"/>
                <a:gd name="T18" fmla="*/ 3 w 570"/>
                <a:gd name="T19" fmla="*/ 0 h 486"/>
                <a:gd name="T20" fmla="*/ 3 w 570"/>
                <a:gd name="T21" fmla="*/ 0 h 486"/>
                <a:gd name="T22" fmla="*/ 4 w 570"/>
                <a:gd name="T23" fmla="*/ 0 h 486"/>
                <a:gd name="T24" fmla="*/ 4 w 570"/>
                <a:gd name="T25" fmla="*/ 0 h 486"/>
                <a:gd name="T26" fmla="*/ 6 w 570"/>
                <a:gd name="T27" fmla="*/ 5 h 486"/>
                <a:gd name="T28" fmla="*/ 6 w 570"/>
                <a:gd name="T29" fmla="*/ 5 h 486"/>
                <a:gd name="T30" fmla="*/ 7 w 570"/>
                <a:gd name="T31" fmla="*/ 5 h 486"/>
                <a:gd name="T32" fmla="*/ 6 w 570"/>
                <a:gd name="T33" fmla="*/ 5 h 486"/>
                <a:gd name="T34" fmla="*/ 6 w 570"/>
                <a:gd name="T35" fmla="*/ 5 h 486"/>
                <a:gd name="T36" fmla="*/ 6 w 570"/>
                <a:gd name="T37" fmla="*/ 5 h 486"/>
                <a:gd name="T38" fmla="*/ 6 w 570"/>
                <a:gd name="T39" fmla="*/ 5 h 486"/>
                <a:gd name="T40" fmla="*/ 6 w 570"/>
                <a:gd name="T41" fmla="*/ 5 h 486"/>
                <a:gd name="T42" fmla="*/ 0 w 570"/>
                <a:gd name="T43" fmla="*/ 5 h 486"/>
                <a:gd name="T44" fmla="*/ 3 w 570"/>
                <a:gd name="T45" fmla="*/ 0 h 486"/>
                <a:gd name="T46" fmla="*/ 3 w 570"/>
                <a:gd name="T47" fmla="*/ 0 h 486"/>
                <a:gd name="T48" fmla="*/ 0 w 570"/>
                <a:gd name="T49" fmla="*/ 5 h 486"/>
                <a:gd name="T50" fmla="*/ 0 w 570"/>
                <a:gd name="T51" fmla="*/ 5 h 486"/>
                <a:gd name="T52" fmla="*/ 0 w 570"/>
                <a:gd name="T53" fmla="*/ 5 h 486"/>
                <a:gd name="T54" fmla="*/ 0 w 570"/>
                <a:gd name="T55" fmla="*/ 5 h 486"/>
                <a:gd name="T56" fmla="*/ 0 w 570"/>
                <a:gd name="T57" fmla="*/ 5 h 486"/>
                <a:gd name="T58" fmla="*/ 6 w 570"/>
                <a:gd name="T59" fmla="*/ 5 h 486"/>
                <a:gd name="T60" fmla="*/ 6 w 570"/>
                <a:gd name="T61" fmla="*/ 5 h 486"/>
                <a:gd name="T62" fmla="*/ 6 w 570"/>
                <a:gd name="T63" fmla="*/ 5 h 486"/>
                <a:gd name="T64" fmla="*/ 6 w 570"/>
                <a:gd name="T65" fmla="*/ 5 h 486"/>
                <a:gd name="T66" fmla="*/ 6 w 570"/>
                <a:gd name="T67" fmla="*/ 5 h 486"/>
                <a:gd name="T68" fmla="*/ 6 w 570"/>
                <a:gd name="T69" fmla="*/ 5 h 486"/>
                <a:gd name="T70" fmla="*/ 6 w 570"/>
                <a:gd name="T71" fmla="*/ 5 h 486"/>
                <a:gd name="T72" fmla="*/ 4 w 570"/>
                <a:gd name="T73" fmla="*/ 0 h 486"/>
                <a:gd name="T74" fmla="*/ 4 w 570"/>
                <a:gd name="T75" fmla="*/ 0 h 486"/>
                <a:gd name="T76" fmla="*/ 3 w 570"/>
                <a:gd name="T77" fmla="*/ 0 h 486"/>
                <a:gd name="T78" fmla="*/ 3 w 570"/>
                <a:gd name="T79" fmla="*/ 0 h 486"/>
                <a:gd name="T80" fmla="*/ 3 w 570"/>
                <a:gd name="T81" fmla="*/ 0 h 486"/>
                <a:gd name="T82" fmla="*/ 3 w 570"/>
                <a:gd name="T83" fmla="*/ 0 h 486"/>
                <a:gd name="T84" fmla="*/ 3 w 570"/>
                <a:gd name="T85" fmla="*/ 0 h 48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570"/>
                <a:gd name="T130" fmla="*/ 0 h 486"/>
                <a:gd name="T131" fmla="*/ 570 w 570"/>
                <a:gd name="T132" fmla="*/ 486 h 48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570" h="486">
                  <a:moveTo>
                    <a:pt x="45" y="486"/>
                  </a:moveTo>
                  <a:cubicBezTo>
                    <a:pt x="20" y="486"/>
                    <a:pt x="0" y="466"/>
                    <a:pt x="0" y="441"/>
                  </a:cubicBezTo>
                  <a:cubicBezTo>
                    <a:pt x="0" y="435"/>
                    <a:pt x="1" y="429"/>
                    <a:pt x="3" y="423"/>
                  </a:cubicBezTo>
                  <a:cubicBezTo>
                    <a:pt x="3" y="423"/>
                    <a:pt x="3" y="423"/>
                    <a:pt x="3" y="423"/>
                  </a:cubicBezTo>
                  <a:cubicBezTo>
                    <a:pt x="240" y="28"/>
                    <a:pt x="240" y="28"/>
                    <a:pt x="240" y="28"/>
                  </a:cubicBezTo>
                  <a:cubicBezTo>
                    <a:pt x="241" y="26"/>
                    <a:pt x="241" y="26"/>
                    <a:pt x="241" y="26"/>
                  </a:cubicBezTo>
                  <a:cubicBezTo>
                    <a:pt x="243" y="22"/>
                    <a:pt x="243" y="22"/>
                    <a:pt x="243" y="22"/>
                  </a:cubicBezTo>
                  <a:cubicBezTo>
                    <a:pt x="244" y="22"/>
                    <a:pt x="244" y="22"/>
                    <a:pt x="244" y="22"/>
                  </a:cubicBezTo>
                  <a:cubicBezTo>
                    <a:pt x="251" y="12"/>
                    <a:pt x="261" y="4"/>
                    <a:pt x="274" y="1"/>
                  </a:cubicBezTo>
                  <a:cubicBezTo>
                    <a:pt x="276" y="1"/>
                    <a:pt x="278" y="0"/>
                    <a:pt x="279" y="0"/>
                  </a:cubicBezTo>
                  <a:cubicBezTo>
                    <a:pt x="281" y="0"/>
                    <a:pt x="283" y="0"/>
                    <a:pt x="285" y="0"/>
                  </a:cubicBezTo>
                  <a:cubicBezTo>
                    <a:pt x="301" y="0"/>
                    <a:pt x="316" y="8"/>
                    <a:pt x="325" y="21"/>
                  </a:cubicBezTo>
                  <a:cubicBezTo>
                    <a:pt x="328" y="26"/>
                    <a:pt x="328" y="26"/>
                    <a:pt x="328" y="26"/>
                  </a:cubicBezTo>
                  <a:cubicBezTo>
                    <a:pt x="566" y="423"/>
                    <a:pt x="566" y="423"/>
                    <a:pt x="566" y="423"/>
                  </a:cubicBezTo>
                  <a:cubicBezTo>
                    <a:pt x="566" y="423"/>
                    <a:pt x="566" y="423"/>
                    <a:pt x="566" y="423"/>
                  </a:cubicBezTo>
                  <a:cubicBezTo>
                    <a:pt x="568" y="429"/>
                    <a:pt x="570" y="435"/>
                    <a:pt x="570" y="441"/>
                  </a:cubicBezTo>
                  <a:cubicBezTo>
                    <a:pt x="570" y="461"/>
                    <a:pt x="556" y="479"/>
                    <a:pt x="538" y="484"/>
                  </a:cubicBezTo>
                  <a:cubicBezTo>
                    <a:pt x="538" y="484"/>
                    <a:pt x="538" y="484"/>
                    <a:pt x="538" y="484"/>
                  </a:cubicBezTo>
                  <a:cubicBezTo>
                    <a:pt x="537" y="485"/>
                    <a:pt x="537" y="485"/>
                    <a:pt x="537" y="485"/>
                  </a:cubicBezTo>
                  <a:cubicBezTo>
                    <a:pt x="533" y="486"/>
                    <a:pt x="533" y="486"/>
                    <a:pt x="533" y="486"/>
                  </a:cubicBezTo>
                  <a:cubicBezTo>
                    <a:pt x="530" y="486"/>
                    <a:pt x="527" y="486"/>
                    <a:pt x="524" y="486"/>
                  </a:cubicBezTo>
                  <a:lnTo>
                    <a:pt x="45" y="486"/>
                  </a:lnTo>
                  <a:close/>
                  <a:moveTo>
                    <a:pt x="253" y="33"/>
                  </a:moveTo>
                  <a:cubicBezTo>
                    <a:pt x="252" y="35"/>
                    <a:pt x="252" y="35"/>
                    <a:pt x="252" y="35"/>
                  </a:cubicBezTo>
                  <a:cubicBezTo>
                    <a:pt x="21" y="419"/>
                    <a:pt x="21" y="419"/>
                    <a:pt x="21" y="419"/>
                  </a:cubicBezTo>
                  <a:cubicBezTo>
                    <a:pt x="21" y="419"/>
                    <a:pt x="21" y="419"/>
                    <a:pt x="21" y="419"/>
                  </a:cubicBezTo>
                  <a:cubicBezTo>
                    <a:pt x="18" y="425"/>
                    <a:pt x="18" y="425"/>
                    <a:pt x="18" y="425"/>
                  </a:cubicBezTo>
                  <a:cubicBezTo>
                    <a:pt x="15" y="429"/>
                    <a:pt x="13" y="435"/>
                    <a:pt x="13" y="441"/>
                  </a:cubicBezTo>
                  <a:cubicBezTo>
                    <a:pt x="13" y="459"/>
                    <a:pt x="27" y="473"/>
                    <a:pt x="45" y="473"/>
                  </a:cubicBezTo>
                  <a:cubicBezTo>
                    <a:pt x="524" y="473"/>
                    <a:pt x="524" y="473"/>
                    <a:pt x="524" y="473"/>
                  </a:cubicBezTo>
                  <a:cubicBezTo>
                    <a:pt x="526" y="473"/>
                    <a:pt x="528" y="473"/>
                    <a:pt x="530" y="472"/>
                  </a:cubicBezTo>
                  <a:cubicBezTo>
                    <a:pt x="534" y="471"/>
                    <a:pt x="534" y="471"/>
                    <a:pt x="534" y="471"/>
                  </a:cubicBezTo>
                  <a:cubicBezTo>
                    <a:pt x="547" y="467"/>
                    <a:pt x="556" y="455"/>
                    <a:pt x="556" y="441"/>
                  </a:cubicBezTo>
                  <a:cubicBezTo>
                    <a:pt x="556" y="435"/>
                    <a:pt x="554" y="429"/>
                    <a:pt x="551" y="425"/>
                  </a:cubicBezTo>
                  <a:cubicBezTo>
                    <a:pt x="557" y="421"/>
                    <a:pt x="557" y="421"/>
                    <a:pt x="557" y="421"/>
                  </a:cubicBezTo>
                  <a:cubicBezTo>
                    <a:pt x="551" y="424"/>
                    <a:pt x="551" y="424"/>
                    <a:pt x="551" y="424"/>
                  </a:cubicBezTo>
                  <a:cubicBezTo>
                    <a:pt x="316" y="33"/>
                    <a:pt x="316" y="33"/>
                    <a:pt x="316" y="33"/>
                  </a:cubicBezTo>
                  <a:cubicBezTo>
                    <a:pt x="313" y="29"/>
                    <a:pt x="313" y="29"/>
                    <a:pt x="313" y="29"/>
                  </a:cubicBezTo>
                  <a:cubicBezTo>
                    <a:pt x="307" y="20"/>
                    <a:pt x="297" y="14"/>
                    <a:pt x="285" y="14"/>
                  </a:cubicBezTo>
                  <a:cubicBezTo>
                    <a:pt x="283" y="14"/>
                    <a:pt x="282" y="14"/>
                    <a:pt x="281" y="14"/>
                  </a:cubicBezTo>
                  <a:cubicBezTo>
                    <a:pt x="280" y="14"/>
                    <a:pt x="278" y="14"/>
                    <a:pt x="278" y="14"/>
                  </a:cubicBezTo>
                  <a:cubicBezTo>
                    <a:pt x="268" y="17"/>
                    <a:pt x="260" y="22"/>
                    <a:pt x="255" y="30"/>
                  </a:cubicBezTo>
                  <a:lnTo>
                    <a:pt x="253" y="33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149" name="Freeform 1283"/>
            <p:cNvSpPr>
              <a:spLocks/>
            </p:cNvSpPr>
            <p:nvPr/>
          </p:nvSpPr>
          <p:spPr bwMode="auto">
            <a:xfrm>
              <a:off x="5638" y="4459"/>
              <a:ext cx="191" cy="78"/>
            </a:xfrm>
            <a:custGeom>
              <a:avLst/>
              <a:gdLst>
                <a:gd name="T0" fmla="*/ 4 w 405"/>
                <a:gd name="T1" fmla="*/ 1 h 165"/>
                <a:gd name="T2" fmla="*/ 3 w 405"/>
                <a:gd name="T3" fmla="*/ 1 h 165"/>
                <a:gd name="T4" fmla="*/ 2 w 405"/>
                <a:gd name="T5" fmla="*/ 1 h 165"/>
                <a:gd name="T6" fmla="*/ 3 w 405"/>
                <a:gd name="T7" fmla="*/ 0 h 165"/>
                <a:gd name="T8" fmla="*/ 3 w 405"/>
                <a:gd name="T9" fmla="*/ 0 h 165"/>
                <a:gd name="T10" fmla="*/ 2 w 405"/>
                <a:gd name="T11" fmla="*/ 0 h 165"/>
                <a:gd name="T12" fmla="*/ 2 w 405"/>
                <a:gd name="T13" fmla="*/ 0 h 165"/>
                <a:gd name="T14" fmla="*/ 2 w 405"/>
                <a:gd name="T15" fmla="*/ 0 h 165"/>
                <a:gd name="T16" fmla="*/ 2 w 405"/>
                <a:gd name="T17" fmla="*/ 0 h 165"/>
                <a:gd name="T18" fmla="*/ 2 w 405"/>
                <a:gd name="T19" fmla="*/ 0 h 165"/>
                <a:gd name="T20" fmla="*/ 1 w 405"/>
                <a:gd name="T21" fmla="*/ 0 h 165"/>
                <a:gd name="T22" fmla="*/ 2 w 405"/>
                <a:gd name="T23" fmla="*/ 1 h 165"/>
                <a:gd name="T24" fmla="*/ 1 w 405"/>
                <a:gd name="T25" fmla="*/ 1 h 165"/>
                <a:gd name="T26" fmla="*/ 0 w 405"/>
                <a:gd name="T27" fmla="*/ 1 h 165"/>
                <a:gd name="T28" fmla="*/ 0 w 405"/>
                <a:gd name="T29" fmla="*/ 2 h 165"/>
                <a:gd name="T30" fmla="*/ 0 w 405"/>
                <a:gd name="T31" fmla="*/ 2 h 165"/>
                <a:gd name="T32" fmla="*/ 2 w 405"/>
                <a:gd name="T33" fmla="*/ 2 h 165"/>
                <a:gd name="T34" fmla="*/ 2 w 405"/>
                <a:gd name="T35" fmla="*/ 2 h 165"/>
                <a:gd name="T36" fmla="*/ 2 w 405"/>
                <a:gd name="T37" fmla="*/ 1 h 165"/>
                <a:gd name="T38" fmla="*/ 3 w 405"/>
                <a:gd name="T39" fmla="*/ 2 h 165"/>
                <a:gd name="T40" fmla="*/ 3 w 405"/>
                <a:gd name="T41" fmla="*/ 2 h 165"/>
                <a:gd name="T42" fmla="*/ 4 w 405"/>
                <a:gd name="T43" fmla="*/ 2 h 165"/>
                <a:gd name="T44" fmla="*/ 4 w 405"/>
                <a:gd name="T45" fmla="*/ 2 h 165"/>
                <a:gd name="T46" fmla="*/ 4 w 405"/>
                <a:gd name="T47" fmla="*/ 1 h 1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405"/>
                <a:gd name="T73" fmla="*/ 0 h 165"/>
                <a:gd name="T74" fmla="*/ 405 w 405"/>
                <a:gd name="T75" fmla="*/ 165 h 1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405" h="165">
                  <a:moveTo>
                    <a:pt x="387" y="131"/>
                  </a:moveTo>
                  <a:cubicBezTo>
                    <a:pt x="261" y="131"/>
                    <a:pt x="261" y="131"/>
                    <a:pt x="261" y="131"/>
                  </a:cubicBezTo>
                  <a:cubicBezTo>
                    <a:pt x="224" y="79"/>
                    <a:pt x="224" y="79"/>
                    <a:pt x="224" y="79"/>
                  </a:cubicBezTo>
                  <a:cubicBezTo>
                    <a:pt x="260" y="30"/>
                    <a:pt x="260" y="30"/>
                    <a:pt x="260" y="30"/>
                  </a:cubicBezTo>
                  <a:cubicBezTo>
                    <a:pt x="266" y="22"/>
                    <a:pt x="264" y="11"/>
                    <a:pt x="256" y="6"/>
                  </a:cubicBezTo>
                  <a:cubicBezTo>
                    <a:pt x="249" y="0"/>
                    <a:pt x="238" y="2"/>
                    <a:pt x="232" y="9"/>
                  </a:cubicBezTo>
                  <a:cubicBezTo>
                    <a:pt x="232" y="9"/>
                    <a:pt x="232" y="9"/>
                    <a:pt x="232" y="9"/>
                  </a:cubicBezTo>
                  <a:cubicBezTo>
                    <a:pt x="203" y="50"/>
                    <a:pt x="203" y="50"/>
                    <a:pt x="203" y="50"/>
                  </a:cubicBezTo>
                  <a:cubicBezTo>
                    <a:pt x="173" y="9"/>
                    <a:pt x="173" y="9"/>
                    <a:pt x="173" y="9"/>
                  </a:cubicBezTo>
                  <a:cubicBezTo>
                    <a:pt x="167" y="2"/>
                    <a:pt x="157" y="0"/>
                    <a:pt x="149" y="6"/>
                  </a:cubicBezTo>
                  <a:cubicBezTo>
                    <a:pt x="141" y="11"/>
                    <a:pt x="140" y="22"/>
                    <a:pt x="145" y="30"/>
                  </a:cubicBezTo>
                  <a:cubicBezTo>
                    <a:pt x="181" y="79"/>
                    <a:pt x="181" y="79"/>
                    <a:pt x="181" y="79"/>
                  </a:cubicBezTo>
                  <a:cubicBezTo>
                    <a:pt x="144" y="131"/>
                    <a:pt x="144" y="131"/>
                    <a:pt x="144" y="131"/>
                  </a:cubicBezTo>
                  <a:cubicBezTo>
                    <a:pt x="18" y="131"/>
                    <a:pt x="18" y="131"/>
                    <a:pt x="18" y="131"/>
                  </a:cubicBezTo>
                  <a:cubicBezTo>
                    <a:pt x="8" y="131"/>
                    <a:pt x="0" y="139"/>
                    <a:pt x="0" y="148"/>
                  </a:cubicBezTo>
                  <a:cubicBezTo>
                    <a:pt x="0" y="158"/>
                    <a:pt x="8" y="165"/>
                    <a:pt x="18" y="165"/>
                  </a:cubicBezTo>
                  <a:cubicBezTo>
                    <a:pt x="152" y="165"/>
                    <a:pt x="152" y="165"/>
                    <a:pt x="152" y="165"/>
                  </a:cubicBezTo>
                  <a:cubicBezTo>
                    <a:pt x="158" y="165"/>
                    <a:pt x="163" y="163"/>
                    <a:pt x="166" y="158"/>
                  </a:cubicBezTo>
                  <a:cubicBezTo>
                    <a:pt x="203" y="109"/>
                    <a:pt x="203" y="109"/>
                    <a:pt x="203" y="109"/>
                  </a:cubicBezTo>
                  <a:cubicBezTo>
                    <a:pt x="239" y="158"/>
                    <a:pt x="239" y="158"/>
                    <a:pt x="239" y="158"/>
                  </a:cubicBezTo>
                  <a:cubicBezTo>
                    <a:pt x="242" y="163"/>
                    <a:pt x="247" y="165"/>
                    <a:pt x="253" y="165"/>
                  </a:cubicBezTo>
                  <a:cubicBezTo>
                    <a:pt x="387" y="165"/>
                    <a:pt x="387" y="165"/>
                    <a:pt x="387" y="165"/>
                  </a:cubicBezTo>
                  <a:cubicBezTo>
                    <a:pt x="397" y="165"/>
                    <a:pt x="405" y="158"/>
                    <a:pt x="405" y="148"/>
                  </a:cubicBezTo>
                  <a:cubicBezTo>
                    <a:pt x="405" y="139"/>
                    <a:pt x="397" y="131"/>
                    <a:pt x="387" y="131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6044" name="TextBox 76"/>
          <p:cNvSpPr txBox="1">
            <a:spLocks noChangeArrowheads="1"/>
          </p:cNvSpPr>
          <p:nvPr/>
        </p:nvSpPr>
        <p:spPr bwMode="auto">
          <a:xfrm>
            <a:off x="5359400" y="1350768"/>
            <a:ext cx="30008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r>
              <a:rPr lang="de-DE" sz="1800">
                <a:solidFill>
                  <a:srgbClr val="FFFFFF"/>
                </a:solidFill>
                <a:ea typeface="ＭＳ Ｐゴシック" charset="0"/>
                <a:cs typeface="ＭＳ Ｐゴシック" charset="0"/>
              </a:rPr>
              <a:t>+</a:t>
            </a:r>
            <a:endParaRPr lang="en-US" sz="1800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6045" name="Title 48"/>
          <p:cNvSpPr>
            <a:spLocks/>
          </p:cNvSpPr>
          <p:nvPr/>
        </p:nvSpPr>
        <p:spPr bwMode="auto">
          <a:xfrm>
            <a:off x="320675" y="225128"/>
            <a:ext cx="10879138" cy="8265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prstTxWarp prst="textNoShape">
              <a:avLst/>
            </a:prstTxWarp>
          </a:bodyPr>
          <a:lstStyle/>
          <a:p>
            <a:pPr eaLnBrk="0" hangingPunct="0">
              <a:lnSpc>
                <a:spcPct val="90000"/>
              </a:lnSpc>
            </a:pPr>
            <a:r>
              <a:rPr lang="en-US" sz="2800" b="1" dirty="0" smtClean="0">
                <a:solidFill>
                  <a:srgbClr val="666666"/>
                </a:solidFill>
                <a:ea typeface="ＭＳ Ｐゴシック" charset="0"/>
                <a:cs typeface="ＭＳ Ｐゴシック" charset="0"/>
              </a:rPr>
              <a:t>Liquid </a:t>
            </a:r>
            <a:r>
              <a:rPr lang="en-US" sz="2800" b="1" dirty="0" smtClean="0">
                <a:solidFill>
                  <a:srgbClr val="666666"/>
                </a:solidFill>
                <a:ea typeface="ＭＳ Ｐゴシック" charset="0"/>
                <a:cs typeface="ＭＳ Ｐゴシック" charset="0"/>
              </a:rPr>
              <a:t>Core “functional requirements”</a:t>
            </a:r>
            <a:endParaRPr lang="en-US" sz="2800" b="1" dirty="0">
              <a:solidFill>
                <a:srgbClr val="666666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6046" name="TextBox 40"/>
          <p:cNvSpPr txBox="1">
            <a:spLocks noChangeArrowheads="1"/>
          </p:cNvSpPr>
          <p:nvPr/>
        </p:nvSpPr>
        <p:spPr bwMode="auto">
          <a:xfrm>
            <a:off x="2539382" y="2389044"/>
            <a:ext cx="985013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Voice Mail </a:t>
            </a:r>
            <a:b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</a:br>
            <a: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Server</a:t>
            </a:r>
            <a:endParaRPr lang="en-GB" sz="1400" dirty="0">
              <a:solidFill>
                <a:srgbClr val="666666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6047" name="TextBox 41"/>
          <p:cNvSpPr txBox="1">
            <a:spLocks noChangeArrowheads="1"/>
          </p:cNvSpPr>
          <p:nvPr/>
        </p:nvSpPr>
        <p:spPr bwMode="auto">
          <a:xfrm>
            <a:off x="2606670" y="3390837"/>
            <a:ext cx="652679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SMS </a:t>
            </a:r>
            <a:b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</a:br>
            <a: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Server</a:t>
            </a:r>
            <a:endParaRPr lang="en-GB" sz="1400" dirty="0">
              <a:solidFill>
                <a:srgbClr val="666666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6048" name="TextBox 42"/>
          <p:cNvSpPr txBox="1">
            <a:spLocks noChangeArrowheads="1"/>
          </p:cNvSpPr>
          <p:nvPr/>
        </p:nvSpPr>
        <p:spPr bwMode="auto">
          <a:xfrm>
            <a:off x="2150280" y="5195222"/>
            <a:ext cx="1481046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Mobile Switching </a:t>
            </a:r>
            <a:b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</a:br>
            <a: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Server</a:t>
            </a:r>
            <a:endParaRPr lang="en-GB" sz="1400" dirty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grpSp>
        <p:nvGrpSpPr>
          <p:cNvPr id="86049" name="Group 94"/>
          <p:cNvGrpSpPr>
            <a:grpSpLocks/>
          </p:cNvGrpSpPr>
          <p:nvPr/>
        </p:nvGrpSpPr>
        <p:grpSpPr bwMode="auto">
          <a:xfrm>
            <a:off x="9636125" y="1454932"/>
            <a:ext cx="369888" cy="226808"/>
            <a:chOff x="8601377" y="1397688"/>
            <a:chExt cx="369888" cy="214313"/>
          </a:xfrm>
        </p:grpSpPr>
        <p:sp>
          <p:nvSpPr>
            <p:cNvPr id="86142" name="Freeform 2142"/>
            <p:cNvSpPr>
              <a:spLocks noEditPoints="1"/>
            </p:cNvSpPr>
            <p:nvPr/>
          </p:nvSpPr>
          <p:spPr bwMode="auto">
            <a:xfrm>
              <a:off x="8675990" y="1472301"/>
              <a:ext cx="66675" cy="65087"/>
            </a:xfrm>
            <a:custGeom>
              <a:avLst/>
              <a:gdLst>
                <a:gd name="T0" fmla="*/ 0 w 88"/>
                <a:gd name="T1" fmla="*/ 2147483647 h 88"/>
                <a:gd name="T2" fmla="*/ 2147483647 w 88"/>
                <a:gd name="T3" fmla="*/ 0 h 88"/>
                <a:gd name="T4" fmla="*/ 2147483647 w 88"/>
                <a:gd name="T5" fmla="*/ 2147483647 h 88"/>
                <a:gd name="T6" fmla="*/ 2147483647 w 88"/>
                <a:gd name="T7" fmla="*/ 2147483647 h 88"/>
                <a:gd name="T8" fmla="*/ 0 w 88"/>
                <a:gd name="T9" fmla="*/ 2147483647 h 88"/>
                <a:gd name="T10" fmla="*/ 2147483647 w 88"/>
                <a:gd name="T11" fmla="*/ 2147483647 h 88"/>
                <a:gd name="T12" fmla="*/ 2147483647 w 88"/>
                <a:gd name="T13" fmla="*/ 2147483647 h 88"/>
                <a:gd name="T14" fmla="*/ 2147483647 w 88"/>
                <a:gd name="T15" fmla="*/ 2147483647 h 88"/>
                <a:gd name="T16" fmla="*/ 2147483647 w 88"/>
                <a:gd name="T17" fmla="*/ 0 h 88"/>
                <a:gd name="T18" fmla="*/ 2147483647 w 88"/>
                <a:gd name="T19" fmla="*/ 2147483647 h 8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8"/>
                <a:gd name="T31" fmla="*/ 0 h 88"/>
                <a:gd name="T32" fmla="*/ 88 w 88"/>
                <a:gd name="T33" fmla="*/ 88 h 8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8" h="88">
                  <a:moveTo>
                    <a:pt x="0" y="44"/>
                  </a:moveTo>
                  <a:cubicBezTo>
                    <a:pt x="0" y="19"/>
                    <a:pt x="19" y="0"/>
                    <a:pt x="44" y="0"/>
                  </a:cubicBezTo>
                  <a:cubicBezTo>
                    <a:pt x="68" y="0"/>
                    <a:pt x="88" y="19"/>
                    <a:pt x="88" y="44"/>
                  </a:cubicBezTo>
                  <a:cubicBezTo>
                    <a:pt x="88" y="68"/>
                    <a:pt x="68" y="87"/>
                    <a:pt x="44" y="88"/>
                  </a:cubicBezTo>
                  <a:cubicBezTo>
                    <a:pt x="19" y="87"/>
                    <a:pt x="0" y="68"/>
                    <a:pt x="0" y="44"/>
                  </a:cubicBezTo>
                  <a:close/>
                  <a:moveTo>
                    <a:pt x="16" y="44"/>
                  </a:moveTo>
                  <a:cubicBezTo>
                    <a:pt x="16" y="59"/>
                    <a:pt x="28" y="71"/>
                    <a:pt x="44" y="71"/>
                  </a:cubicBezTo>
                  <a:cubicBezTo>
                    <a:pt x="59" y="71"/>
                    <a:pt x="71" y="59"/>
                    <a:pt x="71" y="44"/>
                  </a:cubicBezTo>
                  <a:cubicBezTo>
                    <a:pt x="71" y="28"/>
                    <a:pt x="59" y="16"/>
                    <a:pt x="44" y="16"/>
                  </a:cubicBezTo>
                  <a:cubicBezTo>
                    <a:pt x="28" y="16"/>
                    <a:pt x="16" y="28"/>
                    <a:pt x="16" y="44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43" name="Freeform 2143"/>
            <p:cNvSpPr>
              <a:spLocks noEditPoints="1"/>
            </p:cNvSpPr>
            <p:nvPr/>
          </p:nvSpPr>
          <p:spPr bwMode="auto">
            <a:xfrm>
              <a:off x="8601377" y="1397688"/>
              <a:ext cx="214313" cy="214313"/>
            </a:xfrm>
            <a:custGeom>
              <a:avLst/>
              <a:gdLst>
                <a:gd name="T0" fmla="*/ 2147483647 w 287"/>
                <a:gd name="T1" fmla="*/ 2147483647 h 287"/>
                <a:gd name="T2" fmla="*/ 2147483647 w 287"/>
                <a:gd name="T3" fmla="*/ 2147483647 h 287"/>
                <a:gd name="T4" fmla="*/ 2147483647 w 287"/>
                <a:gd name="T5" fmla="*/ 2147483647 h 287"/>
                <a:gd name="T6" fmla="*/ 2147483647 w 287"/>
                <a:gd name="T7" fmla="*/ 2147483647 h 287"/>
                <a:gd name="T8" fmla="*/ 2147483647 w 287"/>
                <a:gd name="T9" fmla="*/ 2147483647 h 287"/>
                <a:gd name="T10" fmla="*/ 0 w 287"/>
                <a:gd name="T11" fmla="*/ 2147483647 h 287"/>
                <a:gd name="T12" fmla="*/ 0 w 287"/>
                <a:gd name="T13" fmla="*/ 2147483647 h 287"/>
                <a:gd name="T14" fmla="*/ 2147483647 w 287"/>
                <a:gd name="T15" fmla="*/ 2147483647 h 287"/>
                <a:gd name="T16" fmla="*/ 2147483647 w 287"/>
                <a:gd name="T17" fmla="*/ 2147483647 h 287"/>
                <a:gd name="T18" fmla="*/ 2147483647 w 287"/>
                <a:gd name="T19" fmla="*/ 2147483647 h 287"/>
                <a:gd name="T20" fmla="*/ 2147483647 w 287"/>
                <a:gd name="T21" fmla="*/ 2147483647 h 287"/>
                <a:gd name="T22" fmla="*/ 2147483647 w 287"/>
                <a:gd name="T23" fmla="*/ 0 h 287"/>
                <a:gd name="T24" fmla="*/ 2147483647 w 287"/>
                <a:gd name="T25" fmla="*/ 0 h 287"/>
                <a:gd name="T26" fmla="*/ 2147483647 w 287"/>
                <a:gd name="T27" fmla="*/ 2147483647 h 287"/>
                <a:gd name="T28" fmla="*/ 2147483647 w 287"/>
                <a:gd name="T29" fmla="*/ 2147483647 h 287"/>
                <a:gd name="T30" fmla="*/ 2147483647 w 287"/>
                <a:gd name="T31" fmla="*/ 2147483647 h 287"/>
                <a:gd name="T32" fmla="*/ 2147483647 w 287"/>
                <a:gd name="T33" fmla="*/ 2147483647 h 287"/>
                <a:gd name="T34" fmla="*/ 2147483647 w 287"/>
                <a:gd name="T35" fmla="*/ 2147483647 h 287"/>
                <a:gd name="T36" fmla="*/ 2147483647 w 287"/>
                <a:gd name="T37" fmla="*/ 2147483647 h 287"/>
                <a:gd name="T38" fmla="*/ 2147483647 w 287"/>
                <a:gd name="T39" fmla="*/ 2147483647 h 287"/>
                <a:gd name="T40" fmla="*/ 2147483647 w 287"/>
                <a:gd name="T41" fmla="*/ 2147483647 h 287"/>
                <a:gd name="T42" fmla="*/ 2147483647 w 287"/>
                <a:gd name="T43" fmla="*/ 2147483647 h 287"/>
                <a:gd name="T44" fmla="*/ 2147483647 w 287"/>
                <a:gd name="T45" fmla="*/ 2147483647 h 287"/>
                <a:gd name="T46" fmla="*/ 2147483647 w 287"/>
                <a:gd name="T47" fmla="*/ 2147483647 h 287"/>
                <a:gd name="T48" fmla="*/ 2147483647 w 287"/>
                <a:gd name="T49" fmla="*/ 2147483647 h 287"/>
                <a:gd name="T50" fmla="*/ 2147483647 w 287"/>
                <a:gd name="T51" fmla="*/ 2147483647 h 287"/>
                <a:gd name="T52" fmla="*/ 2147483647 w 287"/>
                <a:gd name="T53" fmla="*/ 2147483647 h 287"/>
                <a:gd name="T54" fmla="*/ 2147483647 w 287"/>
                <a:gd name="T55" fmla="*/ 2147483647 h 287"/>
                <a:gd name="T56" fmla="*/ 2147483647 w 287"/>
                <a:gd name="T57" fmla="*/ 2147483647 h 287"/>
                <a:gd name="T58" fmla="*/ 2147483647 w 287"/>
                <a:gd name="T59" fmla="*/ 2147483647 h 287"/>
                <a:gd name="T60" fmla="*/ 2147483647 w 287"/>
                <a:gd name="T61" fmla="*/ 2147483647 h 287"/>
                <a:gd name="T62" fmla="*/ 2147483647 w 287"/>
                <a:gd name="T63" fmla="*/ 2147483647 h 287"/>
                <a:gd name="T64" fmla="*/ 2147483647 w 287"/>
                <a:gd name="T65" fmla="*/ 2147483647 h 287"/>
                <a:gd name="T66" fmla="*/ 2147483647 w 287"/>
                <a:gd name="T67" fmla="*/ 2147483647 h 287"/>
                <a:gd name="T68" fmla="*/ 2147483647 w 287"/>
                <a:gd name="T69" fmla="*/ 2147483647 h 287"/>
                <a:gd name="T70" fmla="*/ 2147483647 w 287"/>
                <a:gd name="T71" fmla="*/ 2147483647 h 287"/>
                <a:gd name="T72" fmla="*/ 2147483647 w 287"/>
                <a:gd name="T73" fmla="*/ 2147483647 h 287"/>
                <a:gd name="T74" fmla="*/ 2147483647 w 287"/>
                <a:gd name="T75" fmla="*/ 2147483647 h 287"/>
                <a:gd name="T76" fmla="*/ 2147483647 w 287"/>
                <a:gd name="T77" fmla="*/ 2147483647 h 287"/>
                <a:gd name="T78" fmla="*/ 2147483647 w 287"/>
                <a:gd name="T79" fmla="*/ 2147483647 h 287"/>
                <a:gd name="T80" fmla="*/ 2147483647 w 287"/>
                <a:gd name="T81" fmla="*/ 2147483647 h 287"/>
                <a:gd name="T82" fmla="*/ 2147483647 w 287"/>
                <a:gd name="T83" fmla="*/ 2147483647 h 287"/>
                <a:gd name="T84" fmla="*/ 2147483647 w 287"/>
                <a:gd name="T85" fmla="*/ 2147483647 h 287"/>
                <a:gd name="T86" fmla="*/ 2147483647 w 287"/>
                <a:gd name="T87" fmla="*/ 2147483647 h 287"/>
                <a:gd name="T88" fmla="*/ 2147483647 w 287"/>
                <a:gd name="T89" fmla="*/ 2147483647 h 287"/>
                <a:gd name="T90" fmla="*/ 2147483647 w 287"/>
                <a:gd name="T91" fmla="*/ 2147483647 h 287"/>
                <a:gd name="T92" fmla="*/ 2147483647 w 287"/>
                <a:gd name="T93" fmla="*/ 2147483647 h 287"/>
                <a:gd name="T94" fmla="*/ 2147483647 w 287"/>
                <a:gd name="T95" fmla="*/ 2147483647 h 287"/>
                <a:gd name="T96" fmla="*/ 2147483647 w 287"/>
                <a:gd name="T97" fmla="*/ 2147483647 h 28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87"/>
                <a:gd name="T148" fmla="*/ 0 h 287"/>
                <a:gd name="T149" fmla="*/ 287 w 287"/>
                <a:gd name="T150" fmla="*/ 287 h 28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87" h="287">
                  <a:moveTo>
                    <a:pt x="126" y="287"/>
                  </a:moveTo>
                  <a:cubicBezTo>
                    <a:pt x="122" y="287"/>
                    <a:pt x="118" y="284"/>
                    <a:pt x="118" y="280"/>
                  </a:cubicBezTo>
                  <a:cubicBezTo>
                    <a:pt x="113" y="233"/>
                    <a:pt x="113" y="233"/>
                    <a:pt x="113" y="233"/>
                  </a:cubicBezTo>
                  <a:cubicBezTo>
                    <a:pt x="109" y="232"/>
                    <a:pt x="105" y="230"/>
                    <a:pt x="101" y="229"/>
                  </a:cubicBezTo>
                  <a:cubicBezTo>
                    <a:pt x="66" y="258"/>
                    <a:pt x="66" y="258"/>
                    <a:pt x="66" y="258"/>
                  </a:cubicBezTo>
                  <a:cubicBezTo>
                    <a:pt x="62" y="261"/>
                    <a:pt x="58" y="260"/>
                    <a:pt x="55" y="258"/>
                  </a:cubicBezTo>
                  <a:cubicBezTo>
                    <a:pt x="30" y="232"/>
                    <a:pt x="30" y="232"/>
                    <a:pt x="30" y="232"/>
                  </a:cubicBezTo>
                  <a:cubicBezTo>
                    <a:pt x="27" y="229"/>
                    <a:pt x="26" y="225"/>
                    <a:pt x="29" y="221"/>
                  </a:cubicBezTo>
                  <a:cubicBezTo>
                    <a:pt x="57" y="187"/>
                    <a:pt x="57" y="187"/>
                    <a:pt x="57" y="187"/>
                  </a:cubicBezTo>
                  <a:cubicBezTo>
                    <a:pt x="55" y="183"/>
                    <a:pt x="53" y="178"/>
                    <a:pt x="51" y="174"/>
                  </a:cubicBezTo>
                  <a:cubicBezTo>
                    <a:pt x="7" y="169"/>
                    <a:pt x="7" y="169"/>
                    <a:pt x="7" y="169"/>
                  </a:cubicBezTo>
                  <a:cubicBezTo>
                    <a:pt x="3" y="169"/>
                    <a:pt x="0" y="165"/>
                    <a:pt x="0" y="161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0" y="122"/>
                    <a:pt x="3" y="118"/>
                    <a:pt x="7" y="118"/>
                  </a:cubicBezTo>
                  <a:cubicBezTo>
                    <a:pt x="49" y="114"/>
                    <a:pt x="49" y="114"/>
                    <a:pt x="49" y="114"/>
                  </a:cubicBezTo>
                  <a:cubicBezTo>
                    <a:pt x="50" y="108"/>
                    <a:pt x="52" y="102"/>
                    <a:pt x="55" y="97"/>
                  </a:cubicBezTo>
                  <a:cubicBezTo>
                    <a:pt x="29" y="66"/>
                    <a:pt x="29" y="66"/>
                    <a:pt x="29" y="66"/>
                  </a:cubicBezTo>
                  <a:cubicBezTo>
                    <a:pt x="26" y="62"/>
                    <a:pt x="27" y="58"/>
                    <a:pt x="30" y="55"/>
                  </a:cubicBezTo>
                  <a:cubicBezTo>
                    <a:pt x="55" y="30"/>
                    <a:pt x="55" y="30"/>
                    <a:pt x="55" y="30"/>
                  </a:cubicBezTo>
                  <a:cubicBezTo>
                    <a:pt x="58" y="27"/>
                    <a:pt x="62" y="26"/>
                    <a:pt x="66" y="29"/>
                  </a:cubicBezTo>
                  <a:cubicBezTo>
                    <a:pt x="96" y="54"/>
                    <a:pt x="96" y="54"/>
                    <a:pt x="96" y="54"/>
                  </a:cubicBezTo>
                  <a:cubicBezTo>
                    <a:pt x="101" y="51"/>
                    <a:pt x="108" y="48"/>
                    <a:pt x="114" y="46"/>
                  </a:cubicBezTo>
                  <a:cubicBezTo>
                    <a:pt x="118" y="7"/>
                    <a:pt x="118" y="7"/>
                    <a:pt x="118" y="7"/>
                  </a:cubicBezTo>
                  <a:cubicBezTo>
                    <a:pt x="118" y="3"/>
                    <a:pt x="122" y="0"/>
                    <a:pt x="126" y="0"/>
                  </a:cubicBezTo>
                  <a:cubicBezTo>
                    <a:pt x="161" y="0"/>
                    <a:pt x="161" y="0"/>
                    <a:pt x="161" y="0"/>
                  </a:cubicBezTo>
                  <a:cubicBezTo>
                    <a:pt x="166" y="0"/>
                    <a:pt x="169" y="3"/>
                    <a:pt x="169" y="7"/>
                  </a:cubicBezTo>
                  <a:cubicBezTo>
                    <a:pt x="173" y="46"/>
                    <a:pt x="173" y="46"/>
                    <a:pt x="173" y="46"/>
                  </a:cubicBezTo>
                  <a:cubicBezTo>
                    <a:pt x="180" y="48"/>
                    <a:pt x="186" y="51"/>
                    <a:pt x="191" y="54"/>
                  </a:cubicBezTo>
                  <a:cubicBezTo>
                    <a:pt x="221" y="29"/>
                    <a:pt x="221" y="29"/>
                    <a:pt x="221" y="29"/>
                  </a:cubicBezTo>
                  <a:cubicBezTo>
                    <a:pt x="225" y="26"/>
                    <a:pt x="229" y="27"/>
                    <a:pt x="232" y="30"/>
                  </a:cubicBezTo>
                  <a:cubicBezTo>
                    <a:pt x="258" y="55"/>
                    <a:pt x="258" y="55"/>
                    <a:pt x="258" y="55"/>
                  </a:cubicBezTo>
                  <a:cubicBezTo>
                    <a:pt x="261" y="58"/>
                    <a:pt x="261" y="62"/>
                    <a:pt x="258" y="66"/>
                  </a:cubicBezTo>
                  <a:cubicBezTo>
                    <a:pt x="232" y="97"/>
                    <a:pt x="232" y="97"/>
                    <a:pt x="232" y="97"/>
                  </a:cubicBezTo>
                  <a:cubicBezTo>
                    <a:pt x="235" y="102"/>
                    <a:pt x="237" y="108"/>
                    <a:pt x="238" y="114"/>
                  </a:cubicBezTo>
                  <a:cubicBezTo>
                    <a:pt x="280" y="118"/>
                    <a:pt x="280" y="118"/>
                    <a:pt x="280" y="118"/>
                  </a:cubicBezTo>
                  <a:cubicBezTo>
                    <a:pt x="284" y="118"/>
                    <a:pt x="287" y="122"/>
                    <a:pt x="287" y="126"/>
                  </a:cubicBezTo>
                  <a:cubicBezTo>
                    <a:pt x="287" y="161"/>
                    <a:pt x="287" y="161"/>
                    <a:pt x="287" y="161"/>
                  </a:cubicBezTo>
                  <a:cubicBezTo>
                    <a:pt x="287" y="165"/>
                    <a:pt x="284" y="169"/>
                    <a:pt x="280" y="169"/>
                  </a:cubicBezTo>
                  <a:cubicBezTo>
                    <a:pt x="236" y="174"/>
                    <a:pt x="236" y="174"/>
                    <a:pt x="236" y="174"/>
                  </a:cubicBezTo>
                  <a:cubicBezTo>
                    <a:pt x="234" y="178"/>
                    <a:pt x="232" y="183"/>
                    <a:pt x="230" y="187"/>
                  </a:cubicBezTo>
                  <a:cubicBezTo>
                    <a:pt x="258" y="221"/>
                    <a:pt x="258" y="221"/>
                    <a:pt x="258" y="221"/>
                  </a:cubicBezTo>
                  <a:cubicBezTo>
                    <a:pt x="261" y="225"/>
                    <a:pt x="260" y="229"/>
                    <a:pt x="258" y="232"/>
                  </a:cubicBezTo>
                  <a:cubicBezTo>
                    <a:pt x="232" y="258"/>
                    <a:pt x="232" y="258"/>
                    <a:pt x="232" y="258"/>
                  </a:cubicBezTo>
                  <a:cubicBezTo>
                    <a:pt x="229" y="260"/>
                    <a:pt x="225" y="261"/>
                    <a:pt x="221" y="258"/>
                  </a:cubicBezTo>
                  <a:cubicBezTo>
                    <a:pt x="186" y="229"/>
                    <a:pt x="186" y="229"/>
                    <a:pt x="186" y="229"/>
                  </a:cubicBezTo>
                  <a:cubicBezTo>
                    <a:pt x="182" y="230"/>
                    <a:pt x="178" y="232"/>
                    <a:pt x="174" y="233"/>
                  </a:cubicBezTo>
                  <a:cubicBezTo>
                    <a:pt x="169" y="280"/>
                    <a:pt x="169" y="280"/>
                    <a:pt x="169" y="280"/>
                  </a:cubicBezTo>
                  <a:cubicBezTo>
                    <a:pt x="169" y="284"/>
                    <a:pt x="166" y="287"/>
                    <a:pt x="161" y="287"/>
                  </a:cubicBezTo>
                  <a:lnTo>
                    <a:pt x="126" y="287"/>
                  </a:lnTo>
                  <a:close/>
                  <a:moveTo>
                    <a:pt x="104" y="212"/>
                  </a:moveTo>
                  <a:cubicBezTo>
                    <a:pt x="110" y="215"/>
                    <a:pt x="116" y="217"/>
                    <a:pt x="123" y="219"/>
                  </a:cubicBezTo>
                  <a:cubicBezTo>
                    <a:pt x="126" y="220"/>
                    <a:pt x="129" y="223"/>
                    <a:pt x="129" y="226"/>
                  </a:cubicBezTo>
                  <a:cubicBezTo>
                    <a:pt x="133" y="271"/>
                    <a:pt x="133" y="271"/>
                    <a:pt x="133" y="271"/>
                  </a:cubicBezTo>
                  <a:cubicBezTo>
                    <a:pt x="154" y="271"/>
                    <a:pt x="154" y="271"/>
                    <a:pt x="154" y="271"/>
                  </a:cubicBezTo>
                  <a:cubicBezTo>
                    <a:pt x="158" y="226"/>
                    <a:pt x="158" y="226"/>
                    <a:pt x="158" y="226"/>
                  </a:cubicBezTo>
                  <a:cubicBezTo>
                    <a:pt x="158" y="223"/>
                    <a:pt x="161" y="220"/>
                    <a:pt x="164" y="219"/>
                  </a:cubicBezTo>
                  <a:cubicBezTo>
                    <a:pt x="171" y="217"/>
                    <a:pt x="177" y="215"/>
                    <a:pt x="183" y="212"/>
                  </a:cubicBezTo>
                  <a:cubicBezTo>
                    <a:pt x="186" y="210"/>
                    <a:pt x="189" y="211"/>
                    <a:pt x="192" y="213"/>
                  </a:cubicBezTo>
                  <a:cubicBezTo>
                    <a:pt x="226" y="241"/>
                    <a:pt x="226" y="241"/>
                    <a:pt x="226" y="241"/>
                  </a:cubicBezTo>
                  <a:cubicBezTo>
                    <a:pt x="241" y="226"/>
                    <a:pt x="241" y="226"/>
                    <a:pt x="241" y="226"/>
                  </a:cubicBezTo>
                  <a:cubicBezTo>
                    <a:pt x="214" y="193"/>
                    <a:pt x="214" y="193"/>
                    <a:pt x="214" y="193"/>
                  </a:cubicBezTo>
                  <a:cubicBezTo>
                    <a:pt x="211" y="190"/>
                    <a:pt x="211" y="187"/>
                    <a:pt x="213" y="184"/>
                  </a:cubicBezTo>
                  <a:cubicBezTo>
                    <a:pt x="217" y="177"/>
                    <a:pt x="220" y="171"/>
                    <a:pt x="222" y="164"/>
                  </a:cubicBezTo>
                  <a:cubicBezTo>
                    <a:pt x="223" y="160"/>
                    <a:pt x="226" y="158"/>
                    <a:pt x="229" y="158"/>
                  </a:cubicBezTo>
                  <a:cubicBezTo>
                    <a:pt x="271" y="154"/>
                    <a:pt x="271" y="154"/>
                    <a:pt x="271" y="154"/>
                  </a:cubicBezTo>
                  <a:cubicBezTo>
                    <a:pt x="271" y="133"/>
                    <a:pt x="271" y="133"/>
                    <a:pt x="271" y="133"/>
                  </a:cubicBezTo>
                  <a:cubicBezTo>
                    <a:pt x="231" y="129"/>
                    <a:pt x="231" y="129"/>
                    <a:pt x="231" y="129"/>
                  </a:cubicBezTo>
                  <a:cubicBezTo>
                    <a:pt x="228" y="129"/>
                    <a:pt x="225" y="126"/>
                    <a:pt x="224" y="123"/>
                  </a:cubicBezTo>
                  <a:cubicBezTo>
                    <a:pt x="222" y="115"/>
                    <a:pt x="219" y="107"/>
                    <a:pt x="215" y="100"/>
                  </a:cubicBezTo>
                  <a:cubicBezTo>
                    <a:pt x="214" y="97"/>
                    <a:pt x="214" y="93"/>
                    <a:pt x="216" y="91"/>
                  </a:cubicBezTo>
                  <a:cubicBezTo>
                    <a:pt x="241" y="61"/>
                    <a:pt x="241" y="61"/>
                    <a:pt x="241" y="61"/>
                  </a:cubicBezTo>
                  <a:cubicBezTo>
                    <a:pt x="226" y="46"/>
                    <a:pt x="226" y="46"/>
                    <a:pt x="226" y="46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95" y="72"/>
                    <a:pt x="191" y="73"/>
                    <a:pt x="188" y="71"/>
                  </a:cubicBezTo>
                  <a:cubicBezTo>
                    <a:pt x="180" y="66"/>
                    <a:pt x="172" y="62"/>
                    <a:pt x="164" y="60"/>
                  </a:cubicBezTo>
                  <a:cubicBezTo>
                    <a:pt x="160" y="59"/>
                    <a:pt x="158" y="56"/>
                    <a:pt x="157" y="53"/>
                  </a:cubicBezTo>
                  <a:cubicBezTo>
                    <a:pt x="154" y="16"/>
                    <a:pt x="154" y="16"/>
                    <a:pt x="154" y="16"/>
                  </a:cubicBezTo>
                  <a:cubicBezTo>
                    <a:pt x="133" y="16"/>
                    <a:pt x="133" y="16"/>
                    <a:pt x="133" y="16"/>
                  </a:cubicBezTo>
                  <a:cubicBezTo>
                    <a:pt x="130" y="53"/>
                    <a:pt x="130" y="53"/>
                    <a:pt x="130" y="53"/>
                  </a:cubicBezTo>
                  <a:cubicBezTo>
                    <a:pt x="129" y="56"/>
                    <a:pt x="127" y="59"/>
                    <a:pt x="124" y="60"/>
                  </a:cubicBezTo>
                  <a:cubicBezTo>
                    <a:pt x="115" y="62"/>
                    <a:pt x="107" y="66"/>
                    <a:pt x="99" y="71"/>
                  </a:cubicBezTo>
                  <a:cubicBezTo>
                    <a:pt x="96" y="73"/>
                    <a:pt x="92" y="72"/>
                    <a:pt x="90" y="70"/>
                  </a:cubicBezTo>
                  <a:cubicBezTo>
                    <a:pt x="61" y="46"/>
                    <a:pt x="61" y="46"/>
                    <a:pt x="61" y="46"/>
                  </a:cubicBezTo>
                  <a:cubicBezTo>
                    <a:pt x="46" y="61"/>
                    <a:pt x="46" y="61"/>
                    <a:pt x="46" y="61"/>
                  </a:cubicBezTo>
                  <a:cubicBezTo>
                    <a:pt x="71" y="91"/>
                    <a:pt x="71" y="91"/>
                    <a:pt x="71" y="91"/>
                  </a:cubicBezTo>
                  <a:cubicBezTo>
                    <a:pt x="73" y="93"/>
                    <a:pt x="73" y="97"/>
                    <a:pt x="72" y="100"/>
                  </a:cubicBezTo>
                  <a:cubicBezTo>
                    <a:pt x="68" y="107"/>
                    <a:pt x="65" y="115"/>
                    <a:pt x="63" y="123"/>
                  </a:cubicBezTo>
                  <a:cubicBezTo>
                    <a:pt x="62" y="126"/>
                    <a:pt x="59" y="129"/>
                    <a:pt x="56" y="129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6" y="154"/>
                    <a:pt x="16" y="154"/>
                    <a:pt x="16" y="154"/>
                  </a:cubicBezTo>
                  <a:cubicBezTo>
                    <a:pt x="58" y="158"/>
                    <a:pt x="58" y="158"/>
                    <a:pt x="58" y="158"/>
                  </a:cubicBezTo>
                  <a:cubicBezTo>
                    <a:pt x="61" y="158"/>
                    <a:pt x="64" y="160"/>
                    <a:pt x="65" y="164"/>
                  </a:cubicBezTo>
                  <a:cubicBezTo>
                    <a:pt x="67" y="171"/>
                    <a:pt x="70" y="177"/>
                    <a:pt x="74" y="184"/>
                  </a:cubicBezTo>
                  <a:cubicBezTo>
                    <a:pt x="76" y="187"/>
                    <a:pt x="76" y="190"/>
                    <a:pt x="74" y="193"/>
                  </a:cubicBezTo>
                  <a:cubicBezTo>
                    <a:pt x="46" y="226"/>
                    <a:pt x="46" y="226"/>
                    <a:pt x="46" y="226"/>
                  </a:cubicBezTo>
                  <a:cubicBezTo>
                    <a:pt x="61" y="241"/>
                    <a:pt x="61" y="241"/>
                    <a:pt x="61" y="241"/>
                  </a:cubicBezTo>
                  <a:cubicBezTo>
                    <a:pt x="95" y="213"/>
                    <a:pt x="95" y="213"/>
                    <a:pt x="95" y="213"/>
                  </a:cubicBezTo>
                  <a:cubicBezTo>
                    <a:pt x="97" y="211"/>
                    <a:pt x="98" y="211"/>
                    <a:pt x="100" y="211"/>
                  </a:cubicBezTo>
                  <a:cubicBezTo>
                    <a:pt x="102" y="211"/>
                    <a:pt x="103" y="211"/>
                    <a:pt x="104" y="212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44" name="Freeform 2144"/>
            <p:cNvSpPr>
              <a:spLocks noEditPoints="1"/>
            </p:cNvSpPr>
            <p:nvPr/>
          </p:nvSpPr>
          <p:spPr bwMode="auto">
            <a:xfrm>
              <a:off x="8855377" y="1477063"/>
              <a:ext cx="57150" cy="55563"/>
            </a:xfrm>
            <a:custGeom>
              <a:avLst/>
              <a:gdLst>
                <a:gd name="T0" fmla="*/ 2147483647 w 75"/>
                <a:gd name="T1" fmla="*/ 2147483647 h 75"/>
                <a:gd name="T2" fmla="*/ 0 w 75"/>
                <a:gd name="T3" fmla="*/ 2147483647 h 75"/>
                <a:gd name="T4" fmla="*/ 0 w 75"/>
                <a:gd name="T5" fmla="*/ 2147483647 h 75"/>
                <a:gd name="T6" fmla="*/ 2147483647 w 75"/>
                <a:gd name="T7" fmla="*/ 0 h 75"/>
                <a:gd name="T8" fmla="*/ 2147483647 w 75"/>
                <a:gd name="T9" fmla="*/ 0 h 75"/>
                <a:gd name="T10" fmla="*/ 2147483647 w 75"/>
                <a:gd name="T11" fmla="*/ 2147483647 h 75"/>
                <a:gd name="T12" fmla="*/ 2147483647 w 75"/>
                <a:gd name="T13" fmla="*/ 2147483647 h 75"/>
                <a:gd name="T14" fmla="*/ 2147483647 w 75"/>
                <a:gd name="T15" fmla="*/ 2147483647 h 75"/>
                <a:gd name="T16" fmla="*/ 2147483647 w 75"/>
                <a:gd name="T17" fmla="*/ 2147483647 h 75"/>
                <a:gd name="T18" fmla="*/ 2147483647 w 75"/>
                <a:gd name="T19" fmla="*/ 2147483647 h 75"/>
                <a:gd name="T20" fmla="*/ 2147483647 w 75"/>
                <a:gd name="T21" fmla="*/ 2147483647 h 75"/>
                <a:gd name="T22" fmla="*/ 2147483647 w 75"/>
                <a:gd name="T23" fmla="*/ 2147483647 h 75"/>
                <a:gd name="T24" fmla="*/ 2147483647 w 75"/>
                <a:gd name="T25" fmla="*/ 2147483647 h 75"/>
                <a:gd name="T26" fmla="*/ 2147483647 w 75"/>
                <a:gd name="T27" fmla="*/ 2147483647 h 75"/>
                <a:gd name="T28" fmla="*/ 2147483647 w 75"/>
                <a:gd name="T29" fmla="*/ 2147483647 h 75"/>
                <a:gd name="T30" fmla="*/ 2147483647 w 75"/>
                <a:gd name="T31" fmla="*/ 2147483647 h 75"/>
                <a:gd name="T32" fmla="*/ 2147483647 w 75"/>
                <a:gd name="T33" fmla="*/ 2147483647 h 75"/>
                <a:gd name="T34" fmla="*/ 2147483647 w 75"/>
                <a:gd name="T35" fmla="*/ 2147483647 h 75"/>
                <a:gd name="T36" fmla="*/ 2147483647 w 75"/>
                <a:gd name="T37" fmla="*/ 2147483647 h 75"/>
                <a:gd name="T38" fmla="*/ 2147483647 w 75"/>
                <a:gd name="T39" fmla="*/ 0 h 75"/>
                <a:gd name="T40" fmla="*/ 2147483647 w 75"/>
                <a:gd name="T41" fmla="*/ 2147483647 h 75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5"/>
                <a:gd name="T64" fmla="*/ 0 h 75"/>
                <a:gd name="T65" fmla="*/ 75 w 75"/>
                <a:gd name="T66" fmla="*/ 75 h 75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5" h="75">
                  <a:moveTo>
                    <a:pt x="23" y="72"/>
                  </a:moveTo>
                  <a:cubicBezTo>
                    <a:pt x="8" y="66"/>
                    <a:pt x="0" y="52"/>
                    <a:pt x="0" y="37"/>
                  </a:cubicBezTo>
                  <a:cubicBezTo>
                    <a:pt x="0" y="32"/>
                    <a:pt x="1" y="27"/>
                    <a:pt x="3" y="23"/>
                  </a:cubicBezTo>
                  <a:cubicBezTo>
                    <a:pt x="9" y="8"/>
                    <a:pt x="23" y="0"/>
                    <a:pt x="37" y="0"/>
                  </a:cubicBezTo>
                  <a:cubicBezTo>
                    <a:pt x="42" y="0"/>
                    <a:pt x="47" y="1"/>
                    <a:pt x="52" y="3"/>
                  </a:cubicBezTo>
                  <a:cubicBezTo>
                    <a:pt x="66" y="9"/>
                    <a:pt x="75" y="23"/>
                    <a:pt x="75" y="37"/>
                  </a:cubicBezTo>
                  <a:cubicBezTo>
                    <a:pt x="75" y="42"/>
                    <a:pt x="74" y="47"/>
                    <a:pt x="72" y="52"/>
                  </a:cubicBezTo>
                  <a:cubicBezTo>
                    <a:pt x="64" y="49"/>
                    <a:pt x="64" y="49"/>
                    <a:pt x="64" y="49"/>
                  </a:cubicBezTo>
                  <a:cubicBezTo>
                    <a:pt x="72" y="52"/>
                    <a:pt x="72" y="52"/>
                    <a:pt x="72" y="52"/>
                  </a:cubicBezTo>
                  <a:cubicBezTo>
                    <a:pt x="66" y="66"/>
                    <a:pt x="52" y="75"/>
                    <a:pt x="37" y="75"/>
                  </a:cubicBezTo>
                  <a:cubicBezTo>
                    <a:pt x="32" y="75"/>
                    <a:pt x="27" y="74"/>
                    <a:pt x="23" y="72"/>
                  </a:cubicBezTo>
                  <a:close/>
                  <a:moveTo>
                    <a:pt x="18" y="29"/>
                  </a:moveTo>
                  <a:cubicBezTo>
                    <a:pt x="17" y="32"/>
                    <a:pt x="16" y="34"/>
                    <a:pt x="16" y="37"/>
                  </a:cubicBezTo>
                  <a:cubicBezTo>
                    <a:pt x="16" y="45"/>
                    <a:pt x="21" y="53"/>
                    <a:pt x="29" y="57"/>
                  </a:cubicBezTo>
                  <a:cubicBezTo>
                    <a:pt x="32" y="58"/>
                    <a:pt x="34" y="58"/>
                    <a:pt x="37" y="58"/>
                  </a:cubicBezTo>
                  <a:cubicBezTo>
                    <a:pt x="45" y="58"/>
                    <a:pt x="53" y="53"/>
                    <a:pt x="57" y="45"/>
                  </a:cubicBezTo>
                  <a:cubicBezTo>
                    <a:pt x="57" y="45"/>
                    <a:pt x="57" y="45"/>
                    <a:pt x="57" y="45"/>
                  </a:cubicBezTo>
                  <a:cubicBezTo>
                    <a:pt x="58" y="43"/>
                    <a:pt x="58" y="40"/>
                    <a:pt x="58" y="37"/>
                  </a:cubicBezTo>
                  <a:cubicBezTo>
                    <a:pt x="58" y="29"/>
                    <a:pt x="53" y="21"/>
                    <a:pt x="45" y="18"/>
                  </a:cubicBezTo>
                  <a:cubicBezTo>
                    <a:pt x="43" y="17"/>
                    <a:pt x="40" y="16"/>
                    <a:pt x="37" y="16"/>
                  </a:cubicBezTo>
                  <a:cubicBezTo>
                    <a:pt x="29" y="16"/>
                    <a:pt x="21" y="21"/>
                    <a:pt x="18" y="29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45" name="Freeform 2145"/>
            <p:cNvSpPr>
              <a:spLocks noEditPoints="1"/>
            </p:cNvSpPr>
            <p:nvPr/>
          </p:nvSpPr>
          <p:spPr bwMode="auto">
            <a:xfrm>
              <a:off x="8795052" y="1416738"/>
              <a:ext cx="176213" cy="176213"/>
            </a:xfrm>
            <a:custGeom>
              <a:avLst/>
              <a:gdLst>
                <a:gd name="T0" fmla="*/ 2147483647 w 234"/>
                <a:gd name="T1" fmla="*/ 2147483647 h 234"/>
                <a:gd name="T2" fmla="*/ 2147483647 w 234"/>
                <a:gd name="T3" fmla="*/ 2147483647 h 234"/>
                <a:gd name="T4" fmla="*/ 2147483647 w 234"/>
                <a:gd name="T5" fmla="*/ 2147483647 h 234"/>
                <a:gd name="T6" fmla="*/ 2147483647 w 234"/>
                <a:gd name="T7" fmla="*/ 2147483647 h 234"/>
                <a:gd name="T8" fmla="*/ 2147483647 w 234"/>
                <a:gd name="T9" fmla="*/ 2147483647 h 234"/>
                <a:gd name="T10" fmla="*/ 0 w 234"/>
                <a:gd name="T11" fmla="*/ 2147483647 h 234"/>
                <a:gd name="T12" fmla="*/ 0 w 234"/>
                <a:gd name="T13" fmla="*/ 2147483647 h 234"/>
                <a:gd name="T14" fmla="*/ 2147483647 w 234"/>
                <a:gd name="T15" fmla="*/ 2147483647 h 234"/>
                <a:gd name="T16" fmla="*/ 0 w 234"/>
                <a:gd name="T17" fmla="*/ 2147483647 h 234"/>
                <a:gd name="T18" fmla="*/ 0 w 234"/>
                <a:gd name="T19" fmla="*/ 2147483647 h 234"/>
                <a:gd name="T20" fmla="*/ 2147483647 w 234"/>
                <a:gd name="T21" fmla="*/ 2147483647 h 234"/>
                <a:gd name="T22" fmla="*/ 2147483647 w 234"/>
                <a:gd name="T23" fmla="*/ 2147483647 h 234"/>
                <a:gd name="T24" fmla="*/ 2147483647 w 234"/>
                <a:gd name="T25" fmla="*/ 0 h 234"/>
                <a:gd name="T26" fmla="*/ 2147483647 w 234"/>
                <a:gd name="T27" fmla="*/ 2147483647 h 234"/>
                <a:gd name="T28" fmla="*/ 2147483647 w 234"/>
                <a:gd name="T29" fmla="*/ 2147483647 h 234"/>
                <a:gd name="T30" fmla="*/ 2147483647 w 234"/>
                <a:gd name="T31" fmla="*/ 0 h 234"/>
                <a:gd name="T32" fmla="*/ 2147483647 w 234"/>
                <a:gd name="T33" fmla="*/ 2147483647 h 234"/>
                <a:gd name="T34" fmla="*/ 2147483647 w 234"/>
                <a:gd name="T35" fmla="*/ 2147483647 h 234"/>
                <a:gd name="T36" fmla="*/ 2147483647 w 234"/>
                <a:gd name="T37" fmla="*/ 2147483647 h 234"/>
                <a:gd name="T38" fmla="*/ 2147483647 w 234"/>
                <a:gd name="T39" fmla="*/ 2147483647 h 234"/>
                <a:gd name="T40" fmla="*/ 2147483647 w 234"/>
                <a:gd name="T41" fmla="*/ 2147483647 h 234"/>
                <a:gd name="T42" fmla="*/ 2147483647 w 234"/>
                <a:gd name="T43" fmla="*/ 2147483647 h 234"/>
                <a:gd name="T44" fmla="*/ 2147483647 w 234"/>
                <a:gd name="T45" fmla="*/ 2147483647 h 234"/>
                <a:gd name="T46" fmla="*/ 2147483647 w 234"/>
                <a:gd name="T47" fmla="*/ 2147483647 h 234"/>
                <a:gd name="T48" fmla="*/ 2147483647 w 234"/>
                <a:gd name="T49" fmla="*/ 2147483647 h 234"/>
                <a:gd name="T50" fmla="*/ 2147483647 w 234"/>
                <a:gd name="T51" fmla="*/ 2147483647 h 234"/>
                <a:gd name="T52" fmla="*/ 2147483647 w 234"/>
                <a:gd name="T53" fmla="*/ 2147483647 h 234"/>
                <a:gd name="T54" fmla="*/ 2147483647 w 234"/>
                <a:gd name="T55" fmla="*/ 2147483647 h 234"/>
                <a:gd name="T56" fmla="*/ 2147483647 w 234"/>
                <a:gd name="T57" fmla="*/ 2147483647 h 234"/>
                <a:gd name="T58" fmla="*/ 2147483647 w 234"/>
                <a:gd name="T59" fmla="*/ 2147483647 h 234"/>
                <a:gd name="T60" fmla="*/ 2147483647 w 234"/>
                <a:gd name="T61" fmla="*/ 2147483647 h 234"/>
                <a:gd name="T62" fmla="*/ 2147483647 w 234"/>
                <a:gd name="T63" fmla="*/ 2147483647 h 234"/>
                <a:gd name="T64" fmla="*/ 2147483647 w 234"/>
                <a:gd name="T65" fmla="*/ 2147483647 h 234"/>
                <a:gd name="T66" fmla="*/ 2147483647 w 234"/>
                <a:gd name="T67" fmla="*/ 2147483647 h 234"/>
                <a:gd name="T68" fmla="*/ 2147483647 w 234"/>
                <a:gd name="T69" fmla="*/ 2147483647 h 234"/>
                <a:gd name="T70" fmla="*/ 2147483647 w 234"/>
                <a:gd name="T71" fmla="*/ 2147483647 h 234"/>
                <a:gd name="T72" fmla="*/ 2147483647 w 234"/>
                <a:gd name="T73" fmla="*/ 2147483647 h 234"/>
                <a:gd name="T74" fmla="*/ 2147483647 w 234"/>
                <a:gd name="T75" fmla="*/ 2147483647 h 234"/>
                <a:gd name="T76" fmla="*/ 2147483647 w 234"/>
                <a:gd name="T77" fmla="*/ 2147483647 h 234"/>
                <a:gd name="T78" fmla="*/ 2147483647 w 234"/>
                <a:gd name="T79" fmla="*/ 2147483647 h 234"/>
                <a:gd name="T80" fmla="*/ 2147483647 w 234"/>
                <a:gd name="T81" fmla="*/ 2147483647 h 234"/>
                <a:gd name="T82" fmla="*/ 2147483647 w 234"/>
                <a:gd name="T83" fmla="*/ 2147483647 h 234"/>
                <a:gd name="T84" fmla="*/ 2147483647 w 234"/>
                <a:gd name="T85" fmla="*/ 2147483647 h 234"/>
                <a:gd name="T86" fmla="*/ 2147483647 w 234"/>
                <a:gd name="T87" fmla="*/ 2147483647 h 234"/>
                <a:gd name="T88" fmla="*/ 2147483647 w 234"/>
                <a:gd name="T89" fmla="*/ 2147483647 h 234"/>
                <a:gd name="T90" fmla="*/ 2147483647 w 234"/>
                <a:gd name="T91" fmla="*/ 2147483647 h 234"/>
                <a:gd name="T92" fmla="*/ 2147483647 w 234"/>
                <a:gd name="T93" fmla="*/ 2147483647 h 234"/>
                <a:gd name="T94" fmla="*/ 2147483647 w 234"/>
                <a:gd name="T95" fmla="*/ 2147483647 h 234"/>
                <a:gd name="T96" fmla="*/ 2147483647 w 234"/>
                <a:gd name="T97" fmla="*/ 2147483647 h 234"/>
                <a:gd name="T98" fmla="*/ 2147483647 w 234"/>
                <a:gd name="T99" fmla="*/ 2147483647 h 234"/>
                <a:gd name="T100" fmla="*/ 2147483647 w 234"/>
                <a:gd name="T101" fmla="*/ 2147483647 h 234"/>
                <a:gd name="T102" fmla="*/ 2147483647 w 234"/>
                <a:gd name="T103" fmla="*/ 2147483647 h 234"/>
                <a:gd name="T104" fmla="*/ 2147483647 w 234"/>
                <a:gd name="T105" fmla="*/ 2147483647 h 234"/>
                <a:gd name="T106" fmla="*/ 2147483647 w 234"/>
                <a:gd name="T107" fmla="*/ 2147483647 h 234"/>
                <a:gd name="T108" fmla="*/ 2147483647 w 234"/>
                <a:gd name="T109" fmla="*/ 2147483647 h 234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234"/>
                <a:gd name="T166" fmla="*/ 0 h 234"/>
                <a:gd name="T167" fmla="*/ 234 w 234"/>
                <a:gd name="T168" fmla="*/ 234 h 234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234" h="234">
                  <a:moveTo>
                    <a:pt x="138" y="229"/>
                  </a:moveTo>
                  <a:cubicBezTo>
                    <a:pt x="121" y="196"/>
                    <a:pt x="121" y="196"/>
                    <a:pt x="121" y="196"/>
                  </a:cubicBezTo>
                  <a:cubicBezTo>
                    <a:pt x="120" y="196"/>
                    <a:pt x="120" y="196"/>
                    <a:pt x="119" y="196"/>
                  </a:cubicBezTo>
                  <a:cubicBezTo>
                    <a:pt x="117" y="196"/>
                    <a:pt x="114" y="196"/>
                    <a:pt x="112" y="196"/>
                  </a:cubicBezTo>
                  <a:cubicBezTo>
                    <a:pt x="95" y="228"/>
                    <a:pt x="95" y="228"/>
                    <a:pt x="95" y="228"/>
                  </a:cubicBezTo>
                  <a:cubicBezTo>
                    <a:pt x="93" y="232"/>
                    <a:pt x="88" y="234"/>
                    <a:pt x="84" y="232"/>
                  </a:cubicBezTo>
                  <a:cubicBezTo>
                    <a:pt x="58" y="221"/>
                    <a:pt x="58" y="221"/>
                    <a:pt x="58" y="221"/>
                  </a:cubicBezTo>
                  <a:cubicBezTo>
                    <a:pt x="54" y="219"/>
                    <a:pt x="52" y="215"/>
                    <a:pt x="53" y="211"/>
                  </a:cubicBezTo>
                  <a:cubicBezTo>
                    <a:pt x="64" y="176"/>
                    <a:pt x="64" y="176"/>
                    <a:pt x="64" y="176"/>
                  </a:cubicBezTo>
                  <a:cubicBezTo>
                    <a:pt x="62" y="174"/>
                    <a:pt x="60" y="172"/>
                    <a:pt x="58" y="169"/>
                  </a:cubicBezTo>
                  <a:cubicBezTo>
                    <a:pt x="23" y="180"/>
                    <a:pt x="23" y="180"/>
                    <a:pt x="23" y="180"/>
                  </a:cubicBezTo>
                  <a:cubicBezTo>
                    <a:pt x="19" y="181"/>
                    <a:pt x="14" y="179"/>
                    <a:pt x="13" y="175"/>
                  </a:cubicBezTo>
                  <a:cubicBezTo>
                    <a:pt x="2" y="148"/>
                    <a:pt x="2" y="148"/>
                    <a:pt x="2" y="148"/>
                  </a:cubicBezTo>
                  <a:cubicBezTo>
                    <a:pt x="0" y="145"/>
                    <a:pt x="2" y="140"/>
                    <a:pt x="6" y="138"/>
                  </a:cubicBezTo>
                  <a:cubicBezTo>
                    <a:pt x="37" y="122"/>
                    <a:pt x="37" y="122"/>
                    <a:pt x="37" y="122"/>
                  </a:cubicBezTo>
                  <a:cubicBezTo>
                    <a:pt x="37" y="119"/>
                    <a:pt x="37" y="117"/>
                    <a:pt x="37" y="114"/>
                  </a:cubicBezTo>
                  <a:cubicBezTo>
                    <a:pt x="37" y="113"/>
                    <a:pt x="37" y="112"/>
                    <a:pt x="37" y="111"/>
                  </a:cubicBezTo>
                  <a:cubicBezTo>
                    <a:pt x="6" y="95"/>
                    <a:pt x="6" y="95"/>
                    <a:pt x="6" y="95"/>
                  </a:cubicBezTo>
                  <a:cubicBezTo>
                    <a:pt x="2" y="93"/>
                    <a:pt x="1" y="88"/>
                    <a:pt x="2" y="84"/>
                  </a:cubicBezTo>
                  <a:cubicBezTo>
                    <a:pt x="13" y="58"/>
                    <a:pt x="13" y="58"/>
                    <a:pt x="13" y="58"/>
                  </a:cubicBezTo>
                  <a:cubicBezTo>
                    <a:pt x="15" y="54"/>
                    <a:pt x="19" y="52"/>
                    <a:pt x="23" y="53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57" y="60"/>
                    <a:pt x="60" y="56"/>
                    <a:pt x="64" y="54"/>
                  </a:cubicBezTo>
                  <a:cubicBezTo>
                    <a:pt x="54" y="23"/>
                    <a:pt x="54" y="23"/>
                    <a:pt x="54" y="23"/>
                  </a:cubicBezTo>
                  <a:cubicBezTo>
                    <a:pt x="53" y="19"/>
                    <a:pt x="55" y="14"/>
                    <a:pt x="59" y="13"/>
                  </a:cubicBezTo>
                  <a:cubicBezTo>
                    <a:pt x="86" y="2"/>
                    <a:pt x="86" y="2"/>
                    <a:pt x="86" y="2"/>
                  </a:cubicBezTo>
                  <a:cubicBezTo>
                    <a:pt x="90" y="0"/>
                    <a:pt x="94" y="2"/>
                    <a:pt x="96" y="6"/>
                  </a:cubicBezTo>
                  <a:cubicBezTo>
                    <a:pt x="110" y="33"/>
                    <a:pt x="110" y="33"/>
                    <a:pt x="110" y="33"/>
                  </a:cubicBezTo>
                  <a:cubicBezTo>
                    <a:pt x="113" y="33"/>
                    <a:pt x="116" y="32"/>
                    <a:pt x="118" y="32"/>
                  </a:cubicBezTo>
                  <a:cubicBezTo>
                    <a:pt x="121" y="32"/>
                    <a:pt x="123" y="33"/>
                    <a:pt x="125" y="33"/>
                  </a:cubicBezTo>
                  <a:cubicBezTo>
                    <a:pt x="139" y="6"/>
                    <a:pt x="139" y="6"/>
                    <a:pt x="139" y="6"/>
                  </a:cubicBezTo>
                  <a:cubicBezTo>
                    <a:pt x="141" y="2"/>
                    <a:pt x="146" y="1"/>
                    <a:pt x="150" y="2"/>
                  </a:cubicBezTo>
                  <a:cubicBezTo>
                    <a:pt x="177" y="14"/>
                    <a:pt x="177" y="14"/>
                    <a:pt x="177" y="14"/>
                  </a:cubicBezTo>
                  <a:cubicBezTo>
                    <a:pt x="180" y="15"/>
                    <a:pt x="182" y="19"/>
                    <a:pt x="181" y="23"/>
                  </a:cubicBezTo>
                  <a:cubicBezTo>
                    <a:pt x="172" y="53"/>
                    <a:pt x="172" y="53"/>
                    <a:pt x="172" y="53"/>
                  </a:cubicBezTo>
                  <a:cubicBezTo>
                    <a:pt x="176" y="56"/>
                    <a:pt x="179" y="59"/>
                    <a:pt x="182" y="63"/>
                  </a:cubicBezTo>
                  <a:cubicBezTo>
                    <a:pt x="212" y="54"/>
                    <a:pt x="212" y="54"/>
                    <a:pt x="212" y="54"/>
                  </a:cubicBezTo>
                  <a:cubicBezTo>
                    <a:pt x="216" y="53"/>
                    <a:pt x="220" y="55"/>
                    <a:pt x="221" y="59"/>
                  </a:cubicBezTo>
                  <a:cubicBezTo>
                    <a:pt x="232" y="86"/>
                    <a:pt x="232" y="86"/>
                    <a:pt x="232" y="86"/>
                  </a:cubicBezTo>
                  <a:cubicBezTo>
                    <a:pt x="234" y="90"/>
                    <a:pt x="232" y="94"/>
                    <a:pt x="229" y="96"/>
                  </a:cubicBezTo>
                  <a:cubicBezTo>
                    <a:pt x="200" y="111"/>
                    <a:pt x="200" y="111"/>
                    <a:pt x="200" y="111"/>
                  </a:cubicBezTo>
                  <a:cubicBezTo>
                    <a:pt x="200" y="112"/>
                    <a:pt x="200" y="113"/>
                    <a:pt x="200" y="114"/>
                  </a:cubicBezTo>
                  <a:cubicBezTo>
                    <a:pt x="200" y="118"/>
                    <a:pt x="200" y="121"/>
                    <a:pt x="200" y="124"/>
                  </a:cubicBezTo>
                  <a:cubicBezTo>
                    <a:pt x="228" y="139"/>
                    <a:pt x="228" y="139"/>
                    <a:pt x="228" y="139"/>
                  </a:cubicBezTo>
                  <a:cubicBezTo>
                    <a:pt x="232" y="141"/>
                    <a:pt x="234" y="146"/>
                    <a:pt x="232" y="150"/>
                  </a:cubicBezTo>
                  <a:cubicBezTo>
                    <a:pt x="221" y="177"/>
                    <a:pt x="221" y="177"/>
                    <a:pt x="221" y="177"/>
                  </a:cubicBezTo>
                  <a:cubicBezTo>
                    <a:pt x="219" y="180"/>
                    <a:pt x="215" y="182"/>
                    <a:pt x="211" y="181"/>
                  </a:cubicBezTo>
                  <a:cubicBezTo>
                    <a:pt x="178" y="171"/>
                    <a:pt x="178" y="171"/>
                    <a:pt x="178" y="171"/>
                  </a:cubicBezTo>
                  <a:cubicBezTo>
                    <a:pt x="175" y="173"/>
                    <a:pt x="173" y="176"/>
                    <a:pt x="170" y="178"/>
                  </a:cubicBezTo>
                  <a:cubicBezTo>
                    <a:pt x="180" y="212"/>
                    <a:pt x="180" y="212"/>
                    <a:pt x="180" y="212"/>
                  </a:cubicBezTo>
                  <a:cubicBezTo>
                    <a:pt x="181" y="216"/>
                    <a:pt x="179" y="220"/>
                    <a:pt x="175" y="222"/>
                  </a:cubicBezTo>
                  <a:cubicBezTo>
                    <a:pt x="148" y="232"/>
                    <a:pt x="148" y="232"/>
                    <a:pt x="148" y="232"/>
                  </a:cubicBezTo>
                  <a:cubicBezTo>
                    <a:pt x="147" y="233"/>
                    <a:pt x="146" y="233"/>
                    <a:pt x="145" y="233"/>
                  </a:cubicBezTo>
                  <a:cubicBezTo>
                    <a:pt x="142" y="233"/>
                    <a:pt x="140" y="231"/>
                    <a:pt x="138" y="229"/>
                  </a:cubicBezTo>
                  <a:close/>
                  <a:moveTo>
                    <a:pt x="133" y="184"/>
                  </a:moveTo>
                  <a:cubicBezTo>
                    <a:pt x="149" y="215"/>
                    <a:pt x="149" y="215"/>
                    <a:pt x="149" y="215"/>
                  </a:cubicBezTo>
                  <a:cubicBezTo>
                    <a:pt x="162" y="209"/>
                    <a:pt x="162" y="209"/>
                    <a:pt x="162" y="209"/>
                  </a:cubicBezTo>
                  <a:cubicBezTo>
                    <a:pt x="153" y="177"/>
                    <a:pt x="153" y="177"/>
                    <a:pt x="153" y="177"/>
                  </a:cubicBezTo>
                  <a:cubicBezTo>
                    <a:pt x="152" y="174"/>
                    <a:pt x="153" y="170"/>
                    <a:pt x="156" y="168"/>
                  </a:cubicBezTo>
                  <a:cubicBezTo>
                    <a:pt x="161" y="165"/>
                    <a:pt x="165" y="161"/>
                    <a:pt x="169" y="156"/>
                  </a:cubicBezTo>
                  <a:cubicBezTo>
                    <a:pt x="171" y="154"/>
                    <a:pt x="174" y="153"/>
                    <a:pt x="177" y="154"/>
                  </a:cubicBezTo>
                  <a:cubicBezTo>
                    <a:pt x="209" y="163"/>
                    <a:pt x="209" y="163"/>
                    <a:pt x="209" y="163"/>
                  </a:cubicBezTo>
                  <a:cubicBezTo>
                    <a:pt x="214" y="150"/>
                    <a:pt x="214" y="150"/>
                    <a:pt x="214" y="150"/>
                  </a:cubicBezTo>
                  <a:cubicBezTo>
                    <a:pt x="187" y="136"/>
                    <a:pt x="187" y="136"/>
                    <a:pt x="187" y="136"/>
                  </a:cubicBezTo>
                  <a:cubicBezTo>
                    <a:pt x="184" y="134"/>
                    <a:pt x="182" y="130"/>
                    <a:pt x="183" y="127"/>
                  </a:cubicBezTo>
                  <a:cubicBezTo>
                    <a:pt x="183" y="123"/>
                    <a:pt x="184" y="119"/>
                    <a:pt x="184" y="114"/>
                  </a:cubicBezTo>
                  <a:cubicBezTo>
                    <a:pt x="184" y="112"/>
                    <a:pt x="184" y="110"/>
                    <a:pt x="183" y="107"/>
                  </a:cubicBezTo>
                  <a:cubicBezTo>
                    <a:pt x="183" y="104"/>
                    <a:pt x="185" y="101"/>
                    <a:pt x="188" y="99"/>
                  </a:cubicBezTo>
                  <a:cubicBezTo>
                    <a:pt x="215" y="85"/>
                    <a:pt x="215" y="85"/>
                    <a:pt x="215" y="85"/>
                  </a:cubicBezTo>
                  <a:cubicBezTo>
                    <a:pt x="209" y="72"/>
                    <a:pt x="209" y="72"/>
                    <a:pt x="209" y="72"/>
                  </a:cubicBezTo>
                  <a:cubicBezTo>
                    <a:pt x="181" y="80"/>
                    <a:pt x="181" y="80"/>
                    <a:pt x="181" y="80"/>
                  </a:cubicBezTo>
                  <a:cubicBezTo>
                    <a:pt x="178" y="81"/>
                    <a:pt x="174" y="80"/>
                    <a:pt x="172" y="77"/>
                  </a:cubicBezTo>
                  <a:cubicBezTo>
                    <a:pt x="168" y="71"/>
                    <a:pt x="163" y="66"/>
                    <a:pt x="158" y="62"/>
                  </a:cubicBezTo>
                  <a:cubicBezTo>
                    <a:pt x="155" y="60"/>
                    <a:pt x="154" y="56"/>
                    <a:pt x="155" y="53"/>
                  </a:cubicBezTo>
                  <a:cubicBezTo>
                    <a:pt x="163" y="26"/>
                    <a:pt x="163" y="26"/>
                    <a:pt x="163" y="26"/>
                  </a:cubicBezTo>
                  <a:cubicBezTo>
                    <a:pt x="150" y="20"/>
                    <a:pt x="150" y="20"/>
                    <a:pt x="150" y="20"/>
                  </a:cubicBezTo>
                  <a:cubicBezTo>
                    <a:pt x="137" y="45"/>
                    <a:pt x="137" y="45"/>
                    <a:pt x="137" y="45"/>
                  </a:cubicBezTo>
                  <a:cubicBezTo>
                    <a:pt x="135" y="48"/>
                    <a:pt x="132" y="50"/>
                    <a:pt x="128" y="50"/>
                  </a:cubicBezTo>
                  <a:cubicBezTo>
                    <a:pt x="125" y="49"/>
                    <a:pt x="122" y="49"/>
                    <a:pt x="118" y="49"/>
                  </a:cubicBezTo>
                  <a:cubicBezTo>
                    <a:pt x="115" y="49"/>
                    <a:pt x="111" y="49"/>
                    <a:pt x="107" y="50"/>
                  </a:cubicBezTo>
                  <a:cubicBezTo>
                    <a:pt x="104" y="50"/>
                    <a:pt x="100" y="49"/>
                    <a:pt x="99" y="45"/>
                  </a:cubicBezTo>
                  <a:cubicBezTo>
                    <a:pt x="85" y="20"/>
                    <a:pt x="85" y="20"/>
                    <a:pt x="85" y="20"/>
                  </a:cubicBezTo>
                  <a:cubicBezTo>
                    <a:pt x="72" y="25"/>
                    <a:pt x="72" y="25"/>
                    <a:pt x="72" y="25"/>
                  </a:cubicBezTo>
                  <a:cubicBezTo>
                    <a:pt x="81" y="54"/>
                    <a:pt x="81" y="54"/>
                    <a:pt x="81" y="54"/>
                  </a:cubicBezTo>
                  <a:cubicBezTo>
                    <a:pt x="82" y="57"/>
                    <a:pt x="81" y="61"/>
                    <a:pt x="78" y="63"/>
                  </a:cubicBezTo>
                  <a:cubicBezTo>
                    <a:pt x="73" y="67"/>
                    <a:pt x="68" y="72"/>
                    <a:pt x="64" y="77"/>
                  </a:cubicBezTo>
                  <a:cubicBezTo>
                    <a:pt x="62" y="80"/>
                    <a:pt x="59" y="81"/>
                    <a:pt x="55" y="80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20" y="84"/>
                    <a:pt x="20" y="84"/>
                    <a:pt x="20" y="84"/>
                  </a:cubicBezTo>
                  <a:cubicBezTo>
                    <a:pt x="49" y="99"/>
                    <a:pt x="49" y="99"/>
                    <a:pt x="49" y="99"/>
                  </a:cubicBezTo>
                  <a:cubicBezTo>
                    <a:pt x="52" y="101"/>
                    <a:pt x="53" y="104"/>
                    <a:pt x="53" y="108"/>
                  </a:cubicBezTo>
                  <a:cubicBezTo>
                    <a:pt x="53" y="110"/>
                    <a:pt x="53" y="112"/>
                    <a:pt x="53" y="114"/>
                  </a:cubicBezTo>
                  <a:cubicBezTo>
                    <a:pt x="53" y="118"/>
                    <a:pt x="53" y="121"/>
                    <a:pt x="54" y="125"/>
                  </a:cubicBezTo>
                  <a:cubicBezTo>
                    <a:pt x="54" y="128"/>
                    <a:pt x="53" y="132"/>
                    <a:pt x="49" y="134"/>
                  </a:cubicBezTo>
                  <a:cubicBezTo>
                    <a:pt x="20" y="149"/>
                    <a:pt x="20" y="149"/>
                    <a:pt x="20" y="149"/>
                  </a:cubicBezTo>
                  <a:cubicBezTo>
                    <a:pt x="25" y="162"/>
                    <a:pt x="25" y="162"/>
                    <a:pt x="25" y="162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2" y="151"/>
                    <a:pt x="65" y="152"/>
                    <a:pt x="67" y="155"/>
                  </a:cubicBezTo>
                  <a:cubicBezTo>
                    <a:pt x="70" y="159"/>
                    <a:pt x="74" y="163"/>
                    <a:pt x="79" y="166"/>
                  </a:cubicBezTo>
                  <a:cubicBezTo>
                    <a:pt x="81" y="168"/>
                    <a:pt x="82" y="172"/>
                    <a:pt x="81" y="175"/>
                  </a:cubicBezTo>
                  <a:cubicBezTo>
                    <a:pt x="71" y="209"/>
                    <a:pt x="71" y="209"/>
                    <a:pt x="71" y="209"/>
                  </a:cubicBezTo>
                  <a:cubicBezTo>
                    <a:pt x="84" y="214"/>
                    <a:pt x="84" y="214"/>
                    <a:pt x="84" y="214"/>
                  </a:cubicBezTo>
                  <a:cubicBezTo>
                    <a:pt x="101" y="183"/>
                    <a:pt x="101" y="183"/>
                    <a:pt x="101" y="183"/>
                  </a:cubicBezTo>
                  <a:cubicBezTo>
                    <a:pt x="102" y="180"/>
                    <a:pt x="106" y="179"/>
                    <a:pt x="109" y="179"/>
                  </a:cubicBezTo>
                  <a:cubicBezTo>
                    <a:pt x="112" y="180"/>
                    <a:pt x="116" y="180"/>
                    <a:pt x="119" y="180"/>
                  </a:cubicBezTo>
                  <a:cubicBezTo>
                    <a:pt x="121" y="180"/>
                    <a:pt x="123" y="180"/>
                    <a:pt x="125" y="179"/>
                  </a:cubicBezTo>
                  <a:cubicBezTo>
                    <a:pt x="126" y="179"/>
                    <a:pt x="126" y="179"/>
                    <a:pt x="126" y="179"/>
                  </a:cubicBezTo>
                  <a:cubicBezTo>
                    <a:pt x="129" y="179"/>
                    <a:pt x="132" y="181"/>
                    <a:pt x="133" y="184"/>
                  </a:cubicBezTo>
                  <a:close/>
                  <a:moveTo>
                    <a:pt x="213" y="173"/>
                  </a:moveTo>
                  <a:cubicBezTo>
                    <a:pt x="216" y="166"/>
                    <a:pt x="216" y="166"/>
                    <a:pt x="216" y="166"/>
                  </a:cubicBezTo>
                  <a:lnTo>
                    <a:pt x="213" y="17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sp>
        <p:nvSpPr>
          <p:cNvPr id="86050" name="AutoShape 42"/>
          <p:cNvSpPr>
            <a:spLocks noChangeArrowheads="1"/>
          </p:cNvSpPr>
          <p:nvPr/>
        </p:nvSpPr>
        <p:spPr bwMode="auto">
          <a:xfrm>
            <a:off x="3524396" y="1354127"/>
            <a:ext cx="1877868" cy="699185"/>
          </a:xfrm>
          <a:prstGeom prst="roundRect">
            <a:avLst>
              <a:gd name="adj" fmla="val 14116"/>
            </a:avLst>
          </a:prstGeom>
          <a:gradFill rotWithShape="1">
            <a:gsLst>
              <a:gs pos="0">
                <a:srgbClr val="A4AAAF"/>
              </a:gs>
              <a:gs pos="100000">
                <a:srgbClr val="68717A"/>
              </a:gs>
            </a:gsLst>
            <a:lin ang="5400000" scaled="1"/>
          </a:gradFill>
          <a:ln w="28575">
            <a:solidFill>
              <a:srgbClr val="68717A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>
              <a:lnSpc>
                <a:spcPts val="1400"/>
              </a:lnSpc>
            </a:pPr>
            <a:r>
              <a:rPr lang="en-US" sz="1400" dirty="0">
                <a:solidFill>
                  <a:srgbClr val="FFFFFF"/>
                </a:solidFill>
                <a:ea typeface="MS PGothic" charset="0"/>
                <a:cs typeface="MS PGothic" charset="0"/>
              </a:rPr>
              <a:t>Automated load and transmission </a:t>
            </a:r>
            <a:r>
              <a:rPr lang="en-US" sz="1400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balancing -</a:t>
            </a:r>
            <a:r>
              <a:rPr lang="en-US" sz="1400" b="1" i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Efficiently</a:t>
            </a:r>
            <a:endParaRPr lang="en-US" sz="1600" b="1" i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  <p:sp>
        <p:nvSpPr>
          <p:cNvPr id="86051" name="AutoShape 42"/>
          <p:cNvSpPr>
            <a:spLocks noChangeArrowheads="1"/>
          </p:cNvSpPr>
          <p:nvPr/>
        </p:nvSpPr>
        <p:spPr bwMode="auto">
          <a:xfrm>
            <a:off x="5913437" y="1355808"/>
            <a:ext cx="1524000" cy="624984"/>
          </a:xfrm>
          <a:prstGeom prst="roundRect">
            <a:avLst>
              <a:gd name="adj" fmla="val 14116"/>
            </a:avLst>
          </a:prstGeom>
          <a:gradFill rotWithShape="1">
            <a:gsLst>
              <a:gs pos="0">
                <a:srgbClr val="A4AAAF"/>
              </a:gs>
              <a:gs pos="100000">
                <a:srgbClr val="68717A"/>
              </a:gs>
            </a:gsLst>
            <a:lin ang="5400000" scaled="1"/>
          </a:gradFill>
          <a:ln w="28575">
            <a:solidFill>
              <a:srgbClr val="68717A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 algn="ctr">
              <a:lnSpc>
                <a:spcPts val="1400"/>
              </a:lnSpc>
            </a:pPr>
            <a:r>
              <a:rPr lang="en-US" sz="1400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TCO reduced </a:t>
            </a:r>
            <a:r>
              <a:rPr lang="en-US" sz="1400" b="1" i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Significantly</a:t>
            </a:r>
            <a:r>
              <a:rPr lang="en-US" sz="1400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 </a:t>
            </a:r>
            <a:endParaRPr lang="en-GB" sz="1400" dirty="0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  <p:sp>
        <p:nvSpPr>
          <p:cNvPr id="86052" name="AutoShape 42"/>
          <p:cNvSpPr>
            <a:spLocks noChangeArrowheads="1"/>
          </p:cNvSpPr>
          <p:nvPr/>
        </p:nvSpPr>
        <p:spPr bwMode="auto">
          <a:xfrm>
            <a:off x="4691064" y="2404165"/>
            <a:ext cx="1747837" cy="766107"/>
          </a:xfrm>
          <a:prstGeom prst="roundRect">
            <a:avLst>
              <a:gd name="adj" fmla="val 14116"/>
            </a:avLst>
          </a:prstGeom>
          <a:gradFill rotWithShape="1">
            <a:gsLst>
              <a:gs pos="0">
                <a:srgbClr val="A4AAAF"/>
              </a:gs>
              <a:gs pos="100000">
                <a:srgbClr val="68717A"/>
              </a:gs>
            </a:gsLst>
            <a:lin ang="5400000" scaled="1"/>
          </a:gradFill>
          <a:ln w="28575">
            <a:solidFill>
              <a:srgbClr val="68717A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r>
              <a:rPr lang="en-US" sz="1400">
                <a:solidFill>
                  <a:srgbClr val="FFFFFF"/>
                </a:solidFill>
                <a:ea typeface="MS PGothic" charset="0"/>
                <a:cs typeface="MS PGothic" charset="0"/>
              </a:rPr>
              <a:t>Simplification</a:t>
            </a:r>
          </a:p>
          <a:p>
            <a:pPr>
              <a:lnSpc>
                <a:spcPct val="90000"/>
              </a:lnSpc>
            </a:pPr>
            <a:r>
              <a:rPr lang="en-US" sz="1400">
                <a:solidFill>
                  <a:srgbClr val="FFFFFF"/>
                </a:solidFill>
                <a:ea typeface="MS PGothic" charset="0"/>
                <a:cs typeface="MS PGothic" charset="0"/>
              </a:rPr>
              <a:t>and consolidation</a:t>
            </a:r>
          </a:p>
          <a:p>
            <a:pPr>
              <a:lnSpc>
                <a:spcPct val="90000"/>
              </a:lnSpc>
            </a:pPr>
            <a:r>
              <a:rPr lang="en-US" sz="1400">
                <a:solidFill>
                  <a:srgbClr val="FFFFFF"/>
                </a:solidFill>
                <a:ea typeface="MS PGothic" charset="0"/>
                <a:cs typeface="MS PGothic" charset="0"/>
              </a:rPr>
              <a:t>of core network</a:t>
            </a:r>
            <a:endParaRPr lang="en-GB" sz="1400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  <p:sp>
        <p:nvSpPr>
          <p:cNvPr id="86053" name="AutoShape 42"/>
          <p:cNvSpPr>
            <a:spLocks noChangeArrowheads="1"/>
          </p:cNvSpPr>
          <p:nvPr/>
        </p:nvSpPr>
        <p:spPr bwMode="auto">
          <a:xfrm>
            <a:off x="4691064" y="4504238"/>
            <a:ext cx="1747837" cy="766107"/>
          </a:xfrm>
          <a:prstGeom prst="roundRect">
            <a:avLst>
              <a:gd name="adj" fmla="val 14116"/>
            </a:avLst>
          </a:prstGeom>
          <a:gradFill rotWithShape="1">
            <a:gsLst>
              <a:gs pos="0">
                <a:srgbClr val="A4AAAF"/>
              </a:gs>
              <a:gs pos="100000">
                <a:srgbClr val="68717A"/>
              </a:gs>
            </a:gsLst>
            <a:lin ang="5400000" scaled="1"/>
          </a:gradFill>
          <a:ln w="28575">
            <a:solidFill>
              <a:srgbClr val="68717A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>
              <a:lnSpc>
                <a:spcPct val="90000"/>
              </a:lnSpc>
            </a:pPr>
            <a:r>
              <a:rPr lang="en-GB" sz="1400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Long life cycle for hardware </a:t>
            </a:r>
            <a:br>
              <a:rPr lang="en-GB" sz="1400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</a:br>
            <a:r>
              <a:rPr lang="en-GB" sz="1400" b="1" i="1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Durability </a:t>
            </a:r>
            <a:endParaRPr lang="en-GB" sz="1400" b="1" i="1" dirty="0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  <p:sp>
        <p:nvSpPr>
          <p:cNvPr id="86054" name="TextBox 42"/>
          <p:cNvSpPr txBox="1">
            <a:spLocks noChangeArrowheads="1"/>
          </p:cNvSpPr>
          <p:nvPr/>
        </p:nvSpPr>
        <p:spPr bwMode="auto">
          <a:xfrm>
            <a:off x="2277946" y="4365595"/>
            <a:ext cx="128419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prstTxWarp prst="textNoShape">
              <a:avLst/>
            </a:prstTxWarp>
            <a:spAutoFit/>
          </a:bodyPr>
          <a:lstStyle/>
          <a:p>
            <a:pPr algn="ctr"/>
            <a: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Signal Transfer </a:t>
            </a:r>
            <a:b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</a:br>
            <a:r>
              <a:rPr lang="en-GB" sz="1400" dirty="0" smtClean="0">
                <a:solidFill>
                  <a:srgbClr val="000000"/>
                </a:solidFill>
                <a:ea typeface="ＭＳ Ｐゴシック" charset="0"/>
                <a:cs typeface="ＭＳ Ｐゴシック" charset="0"/>
              </a:rPr>
              <a:t>Point</a:t>
            </a:r>
            <a:endParaRPr lang="en-GB" sz="1400" dirty="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6055" name="AutoShape 42"/>
          <p:cNvSpPr>
            <a:spLocks noChangeArrowheads="1"/>
          </p:cNvSpPr>
          <p:nvPr/>
        </p:nvSpPr>
        <p:spPr bwMode="auto">
          <a:xfrm>
            <a:off x="4691064" y="3523618"/>
            <a:ext cx="1747837" cy="537925"/>
          </a:xfrm>
          <a:prstGeom prst="roundRect">
            <a:avLst>
              <a:gd name="adj" fmla="val 14116"/>
            </a:avLst>
          </a:prstGeom>
          <a:gradFill rotWithShape="1">
            <a:gsLst>
              <a:gs pos="0">
                <a:srgbClr val="A4AAAF"/>
              </a:gs>
              <a:gs pos="100000">
                <a:srgbClr val="68717A"/>
              </a:gs>
            </a:gsLst>
            <a:lin ang="5400000" scaled="1"/>
          </a:gradFill>
          <a:ln w="28575">
            <a:solidFill>
              <a:srgbClr val="68717A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</a:pPr>
            <a:r>
              <a:rPr lang="en-US" sz="1400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Up to 80% lesser </a:t>
            </a:r>
            <a:br>
              <a:rPr lang="en-US" sz="1400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</a:br>
            <a:r>
              <a:rPr lang="en-US" sz="1400" dirty="0" smtClean="0">
                <a:solidFill>
                  <a:srgbClr val="FFFFFF"/>
                </a:solidFill>
                <a:ea typeface="MS PGothic" charset="0"/>
                <a:cs typeface="MS PGothic" charset="0"/>
              </a:rPr>
              <a:t>footprint </a:t>
            </a:r>
            <a:endParaRPr lang="en-GB" sz="1400" dirty="0">
              <a:solidFill>
                <a:srgbClr val="FFFFFF"/>
              </a:solidFill>
              <a:ea typeface="MS PGothic" charset="0"/>
              <a:cs typeface="MS PGothic" charset="0"/>
            </a:endParaRPr>
          </a:p>
        </p:txBody>
      </p:sp>
      <p:sp>
        <p:nvSpPr>
          <p:cNvPr id="86062" name="AutoShape 42"/>
          <p:cNvSpPr>
            <a:spLocks noChangeArrowheads="1"/>
          </p:cNvSpPr>
          <p:nvPr/>
        </p:nvSpPr>
        <p:spPr bwMode="auto">
          <a:xfrm>
            <a:off x="7967117" y="1344049"/>
            <a:ext cx="2823120" cy="635062"/>
          </a:xfrm>
          <a:prstGeom prst="roundRect">
            <a:avLst>
              <a:gd name="adj" fmla="val 14116"/>
            </a:avLst>
          </a:prstGeom>
          <a:gradFill rotWithShape="1">
            <a:gsLst>
              <a:gs pos="0">
                <a:srgbClr val="FFCC00"/>
              </a:gs>
              <a:gs pos="100000">
                <a:srgbClr val="FF8200"/>
              </a:gs>
            </a:gsLst>
            <a:lin ang="5400000" scaled="1"/>
          </a:gradFill>
          <a:ln w="28575">
            <a:solidFill>
              <a:srgbClr val="FF8200"/>
            </a:solidFill>
            <a:miter lim="800000"/>
            <a:headEnd/>
            <a:tailEnd/>
          </a:ln>
        </p:spPr>
        <p:txBody>
          <a:bodyPr lIns="91439" tIns="45719" rIns="91439" bIns="45719">
            <a:prstTxWarp prst="textNoShape">
              <a:avLst/>
            </a:prstTxWarp>
          </a:bodyPr>
          <a:lstStyle/>
          <a:p>
            <a:pPr eaLnBrk="0" hangingPunct="0">
              <a:lnSpc>
                <a:spcPct val="90000"/>
              </a:lnSpc>
              <a:spcBef>
                <a:spcPct val="30000"/>
              </a:spcBef>
              <a:buClr>
                <a:schemeClr val="accent1"/>
              </a:buClr>
              <a:buSzPct val="110000"/>
            </a:pPr>
            <a:endParaRPr lang="en-US" sz="1600">
              <a:solidFill>
                <a:srgbClr val="000000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86063" name="Text Box 261"/>
          <p:cNvSpPr txBox="1">
            <a:spLocks noChangeArrowheads="1"/>
          </p:cNvSpPr>
          <p:nvPr/>
        </p:nvSpPr>
        <p:spPr bwMode="auto">
          <a:xfrm>
            <a:off x="8005763" y="1486853"/>
            <a:ext cx="1822450" cy="3865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prstTxWarp prst="textNoShape">
              <a:avLst/>
            </a:prstTxWarp>
            <a:spAutoFit/>
          </a:bodyPr>
          <a:lstStyle/>
          <a:p>
            <a:pPr>
              <a:lnSpc>
                <a:spcPct val="130000"/>
              </a:lnSpc>
            </a:pPr>
            <a:r>
              <a:rPr lang="en-GB" sz="1600" b="1" dirty="0">
                <a:solidFill>
                  <a:schemeClr val="bg1"/>
                </a:solidFill>
                <a:ea typeface="ＭＳ Ｐゴシック" charset="0"/>
                <a:cs typeface="ＭＳ Ｐゴシック" charset="0"/>
              </a:rPr>
              <a:t>Virtualization layer</a:t>
            </a:r>
          </a:p>
        </p:txBody>
      </p:sp>
      <p:grpSp>
        <p:nvGrpSpPr>
          <p:cNvPr id="86068" name="Group 95"/>
          <p:cNvGrpSpPr>
            <a:grpSpLocks/>
          </p:cNvGrpSpPr>
          <p:nvPr/>
        </p:nvGrpSpPr>
        <p:grpSpPr bwMode="auto">
          <a:xfrm>
            <a:off x="10095708" y="1570016"/>
            <a:ext cx="331787" cy="277209"/>
            <a:chOff x="2153687" y="1455738"/>
            <a:chExt cx="331788" cy="261938"/>
          </a:xfrm>
        </p:grpSpPr>
        <p:sp>
          <p:nvSpPr>
            <p:cNvPr id="86132" name="Rectangle 1144"/>
            <p:cNvSpPr>
              <a:spLocks noChangeArrowheads="1"/>
            </p:cNvSpPr>
            <p:nvPr/>
          </p:nvSpPr>
          <p:spPr bwMode="auto">
            <a:xfrm>
              <a:off x="2309262" y="1631951"/>
              <a:ext cx="15875" cy="71438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33" name="Freeform 1145"/>
            <p:cNvSpPr>
              <a:spLocks/>
            </p:cNvSpPr>
            <p:nvPr/>
          </p:nvSpPr>
          <p:spPr bwMode="auto">
            <a:xfrm>
              <a:off x="2177499" y="1455738"/>
              <a:ext cx="282576" cy="185738"/>
            </a:xfrm>
            <a:custGeom>
              <a:avLst/>
              <a:gdLst>
                <a:gd name="T0" fmla="*/ 2147483647 w 377"/>
                <a:gd name="T1" fmla="*/ 0 h 246"/>
                <a:gd name="T2" fmla="*/ 2147483647 w 377"/>
                <a:gd name="T3" fmla="*/ 0 h 246"/>
                <a:gd name="T4" fmla="*/ 0 w 377"/>
                <a:gd name="T5" fmla="*/ 2147483647 h 246"/>
                <a:gd name="T6" fmla="*/ 0 w 377"/>
                <a:gd name="T7" fmla="*/ 2147483647 h 246"/>
                <a:gd name="T8" fmla="*/ 2147483647 w 377"/>
                <a:gd name="T9" fmla="*/ 2147483647 h 246"/>
                <a:gd name="T10" fmla="*/ 2147483647 w 377"/>
                <a:gd name="T11" fmla="*/ 2147483647 h 246"/>
                <a:gd name="T12" fmla="*/ 2147483647 w 377"/>
                <a:gd name="T13" fmla="*/ 2147483647 h 246"/>
                <a:gd name="T14" fmla="*/ 2147483647 w 377"/>
                <a:gd name="T15" fmla="*/ 2147483647 h 246"/>
                <a:gd name="T16" fmla="*/ 2147483647 w 377"/>
                <a:gd name="T17" fmla="*/ 0 h 24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7"/>
                <a:gd name="T28" fmla="*/ 0 h 246"/>
                <a:gd name="T29" fmla="*/ 377 w 377"/>
                <a:gd name="T30" fmla="*/ 246 h 24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7" h="246">
                  <a:moveTo>
                    <a:pt x="357" y="0"/>
                  </a:moveTo>
                  <a:cubicBezTo>
                    <a:pt x="20" y="0"/>
                    <a:pt x="20" y="0"/>
                    <a:pt x="20" y="0"/>
                  </a:cubicBezTo>
                  <a:cubicBezTo>
                    <a:pt x="9" y="0"/>
                    <a:pt x="0" y="9"/>
                    <a:pt x="0" y="20"/>
                  </a:cubicBezTo>
                  <a:cubicBezTo>
                    <a:pt x="0" y="227"/>
                    <a:pt x="0" y="227"/>
                    <a:pt x="0" y="227"/>
                  </a:cubicBezTo>
                  <a:cubicBezTo>
                    <a:pt x="0" y="238"/>
                    <a:pt x="9" y="246"/>
                    <a:pt x="20" y="246"/>
                  </a:cubicBezTo>
                  <a:cubicBezTo>
                    <a:pt x="357" y="246"/>
                    <a:pt x="357" y="246"/>
                    <a:pt x="357" y="246"/>
                  </a:cubicBezTo>
                  <a:cubicBezTo>
                    <a:pt x="368" y="246"/>
                    <a:pt x="377" y="238"/>
                    <a:pt x="377" y="227"/>
                  </a:cubicBezTo>
                  <a:cubicBezTo>
                    <a:pt x="377" y="20"/>
                    <a:pt x="377" y="20"/>
                    <a:pt x="377" y="20"/>
                  </a:cubicBezTo>
                  <a:cubicBezTo>
                    <a:pt x="377" y="9"/>
                    <a:pt x="368" y="0"/>
                    <a:pt x="357" y="0"/>
                  </a:cubicBezTo>
                </a:path>
              </a:pathLst>
            </a:custGeom>
            <a:solidFill>
              <a:srgbClr val="FFAF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34" name="Freeform 1146"/>
            <p:cNvSpPr>
              <a:spLocks/>
            </p:cNvSpPr>
            <p:nvPr/>
          </p:nvSpPr>
          <p:spPr bwMode="auto">
            <a:xfrm>
              <a:off x="2185437" y="1463675"/>
              <a:ext cx="268288" cy="169864"/>
            </a:xfrm>
            <a:custGeom>
              <a:avLst/>
              <a:gdLst>
                <a:gd name="T0" fmla="*/ 0 w 357"/>
                <a:gd name="T1" fmla="*/ 0 h 227"/>
                <a:gd name="T2" fmla="*/ 0 w 357"/>
                <a:gd name="T3" fmla="*/ 0 h 227"/>
                <a:gd name="T4" fmla="*/ 0 w 357"/>
                <a:gd name="T5" fmla="*/ 2147483647 h 227"/>
                <a:gd name="T6" fmla="*/ 0 w 357"/>
                <a:gd name="T7" fmla="*/ 2147483647 h 227"/>
                <a:gd name="T8" fmla="*/ 2147483647 w 357"/>
                <a:gd name="T9" fmla="*/ 2147483647 h 227"/>
                <a:gd name="T10" fmla="*/ 2147483647 w 357"/>
                <a:gd name="T11" fmla="*/ 2147483647 h 227"/>
                <a:gd name="T12" fmla="*/ 2147483647 w 357"/>
                <a:gd name="T13" fmla="*/ 0 h 227"/>
                <a:gd name="T14" fmla="*/ 2147483647 w 357"/>
                <a:gd name="T15" fmla="*/ 0 h 227"/>
                <a:gd name="T16" fmla="*/ 0 w 357"/>
                <a:gd name="T17" fmla="*/ 0 h 22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57"/>
                <a:gd name="T28" fmla="*/ 0 h 227"/>
                <a:gd name="T29" fmla="*/ 357 w 357"/>
                <a:gd name="T30" fmla="*/ 227 h 22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57" h="227">
                  <a:moveTo>
                    <a:pt x="10" y="0"/>
                  </a:moveTo>
                  <a:cubicBezTo>
                    <a:pt x="4" y="0"/>
                    <a:pt x="0" y="5"/>
                    <a:pt x="0" y="11"/>
                  </a:cubicBezTo>
                  <a:cubicBezTo>
                    <a:pt x="0" y="216"/>
                    <a:pt x="0" y="216"/>
                    <a:pt x="0" y="216"/>
                  </a:cubicBezTo>
                  <a:cubicBezTo>
                    <a:pt x="0" y="222"/>
                    <a:pt x="4" y="227"/>
                    <a:pt x="10" y="227"/>
                  </a:cubicBezTo>
                  <a:cubicBezTo>
                    <a:pt x="346" y="227"/>
                    <a:pt x="346" y="227"/>
                    <a:pt x="346" y="227"/>
                  </a:cubicBezTo>
                  <a:cubicBezTo>
                    <a:pt x="352" y="227"/>
                    <a:pt x="357" y="222"/>
                    <a:pt x="357" y="216"/>
                  </a:cubicBezTo>
                  <a:cubicBezTo>
                    <a:pt x="357" y="11"/>
                    <a:pt x="357" y="11"/>
                    <a:pt x="357" y="11"/>
                  </a:cubicBezTo>
                  <a:cubicBezTo>
                    <a:pt x="357" y="5"/>
                    <a:pt x="352" y="0"/>
                    <a:pt x="346" y="0"/>
                  </a:cubicBezTo>
                  <a:lnTo>
                    <a:pt x="1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35" name="Freeform 1147"/>
            <p:cNvSpPr>
              <a:spLocks/>
            </p:cNvSpPr>
            <p:nvPr/>
          </p:nvSpPr>
          <p:spPr bwMode="auto">
            <a:xfrm>
              <a:off x="2156862" y="1681164"/>
              <a:ext cx="325438" cy="33337"/>
            </a:xfrm>
            <a:custGeom>
              <a:avLst/>
              <a:gdLst>
                <a:gd name="T0" fmla="*/ 2147483647 w 435"/>
                <a:gd name="T1" fmla="*/ 0 h 44"/>
                <a:gd name="T2" fmla="*/ 2147483647 w 435"/>
                <a:gd name="T3" fmla="*/ 0 h 44"/>
                <a:gd name="T4" fmla="*/ 0 w 435"/>
                <a:gd name="T5" fmla="*/ 2147483647 h 44"/>
                <a:gd name="T6" fmla="*/ 0 w 435"/>
                <a:gd name="T7" fmla="*/ 2147483647 h 44"/>
                <a:gd name="T8" fmla="*/ 2147483647 w 435"/>
                <a:gd name="T9" fmla="*/ 2147483647 h 44"/>
                <a:gd name="T10" fmla="*/ 2147483647 w 435"/>
                <a:gd name="T11" fmla="*/ 0 h 44"/>
                <a:gd name="T12" fmla="*/ 2147483647 w 435"/>
                <a:gd name="T13" fmla="*/ 0 h 44"/>
                <a:gd name="T14" fmla="*/ 2147483647 w 435"/>
                <a:gd name="T15" fmla="*/ 0 h 44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35"/>
                <a:gd name="T25" fmla="*/ 0 h 44"/>
                <a:gd name="T26" fmla="*/ 435 w 435"/>
                <a:gd name="T27" fmla="*/ 44 h 44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35" h="44">
                  <a:moveTo>
                    <a:pt x="51" y="0"/>
                  </a:moveTo>
                  <a:cubicBezTo>
                    <a:pt x="41" y="0"/>
                    <a:pt x="35" y="4"/>
                    <a:pt x="32" y="8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2" y="44"/>
                    <a:pt x="2" y="44"/>
                    <a:pt x="2" y="44"/>
                  </a:cubicBezTo>
                  <a:cubicBezTo>
                    <a:pt x="435" y="44"/>
                    <a:pt x="435" y="44"/>
                    <a:pt x="435" y="44"/>
                  </a:cubicBezTo>
                  <a:cubicBezTo>
                    <a:pt x="401" y="8"/>
                    <a:pt x="401" y="8"/>
                    <a:pt x="401" y="8"/>
                  </a:cubicBezTo>
                  <a:cubicBezTo>
                    <a:pt x="398" y="4"/>
                    <a:pt x="393" y="0"/>
                    <a:pt x="382" y="0"/>
                  </a:cubicBezTo>
                  <a:lnTo>
                    <a:pt x="51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36" name="Freeform 1148"/>
            <p:cNvSpPr>
              <a:spLocks noEditPoints="1"/>
            </p:cNvSpPr>
            <p:nvPr/>
          </p:nvSpPr>
          <p:spPr bwMode="auto">
            <a:xfrm>
              <a:off x="2153687" y="1681164"/>
              <a:ext cx="331788" cy="36512"/>
            </a:xfrm>
            <a:custGeom>
              <a:avLst/>
              <a:gdLst>
                <a:gd name="T0" fmla="*/ 2147483647 w 443"/>
                <a:gd name="T1" fmla="*/ 0 h 48"/>
                <a:gd name="T2" fmla="*/ 2147483647 w 443"/>
                <a:gd name="T3" fmla="*/ 0 h 48"/>
                <a:gd name="T4" fmla="*/ 2147483647 w 443"/>
                <a:gd name="T5" fmla="*/ 0 h 48"/>
                <a:gd name="T6" fmla="*/ 0 w 443"/>
                <a:gd name="T7" fmla="*/ 2147483647 h 48"/>
                <a:gd name="T8" fmla="*/ 0 w 443"/>
                <a:gd name="T9" fmla="*/ 2147483647 h 48"/>
                <a:gd name="T10" fmla="*/ 0 w 443"/>
                <a:gd name="T11" fmla="*/ 2147483647 h 48"/>
                <a:gd name="T12" fmla="*/ 0 w 443"/>
                <a:gd name="T13" fmla="*/ 2147483647 h 48"/>
                <a:gd name="T14" fmla="*/ 2147483647 w 443"/>
                <a:gd name="T15" fmla="*/ 2147483647 h 48"/>
                <a:gd name="T16" fmla="*/ 2147483647 w 443"/>
                <a:gd name="T17" fmla="*/ 2147483647 h 48"/>
                <a:gd name="T18" fmla="*/ 2147483647 w 443"/>
                <a:gd name="T19" fmla="*/ 2147483647 h 48"/>
                <a:gd name="T20" fmla="*/ 2147483647 w 443"/>
                <a:gd name="T21" fmla="*/ 0 h 48"/>
                <a:gd name="T22" fmla="*/ 2147483647 w 443"/>
                <a:gd name="T23" fmla="*/ 0 h 48"/>
                <a:gd name="T24" fmla="*/ 2147483647 w 443"/>
                <a:gd name="T25" fmla="*/ 2147483647 h 48"/>
                <a:gd name="T26" fmla="*/ 2147483647 w 443"/>
                <a:gd name="T27" fmla="*/ 0 h 48"/>
                <a:gd name="T28" fmla="*/ 2147483647 w 443"/>
                <a:gd name="T29" fmla="*/ 0 h 48"/>
                <a:gd name="T30" fmla="*/ 2147483647 w 443"/>
                <a:gd name="T31" fmla="*/ 0 h 48"/>
                <a:gd name="T32" fmla="*/ 2147483647 w 443"/>
                <a:gd name="T33" fmla="*/ 0 h 48"/>
                <a:gd name="T34" fmla="*/ 2147483647 w 443"/>
                <a:gd name="T35" fmla="*/ 0 h 48"/>
                <a:gd name="T36" fmla="*/ 2147483647 w 443"/>
                <a:gd name="T37" fmla="*/ 0 h 48"/>
                <a:gd name="T38" fmla="*/ 2147483647 w 443"/>
                <a:gd name="T39" fmla="*/ 0 h 48"/>
                <a:gd name="T40" fmla="*/ 2147483647 w 443"/>
                <a:gd name="T41" fmla="*/ 0 h 48"/>
                <a:gd name="T42" fmla="*/ 2147483647 w 443"/>
                <a:gd name="T43" fmla="*/ 2147483647 h 48"/>
                <a:gd name="T44" fmla="*/ 2147483647 w 443"/>
                <a:gd name="T45" fmla="*/ 2147483647 h 48"/>
                <a:gd name="T46" fmla="*/ 2147483647 w 443"/>
                <a:gd name="T47" fmla="*/ 2147483647 h 48"/>
                <a:gd name="T48" fmla="*/ 2147483647 w 443"/>
                <a:gd name="T49" fmla="*/ 2147483647 h 48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43"/>
                <a:gd name="T76" fmla="*/ 0 h 48"/>
                <a:gd name="T77" fmla="*/ 443 w 443"/>
                <a:gd name="T78" fmla="*/ 48 h 48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43" h="48">
                  <a:moveTo>
                    <a:pt x="389" y="0"/>
                  </a:moveTo>
                  <a:cubicBezTo>
                    <a:pt x="52" y="0"/>
                    <a:pt x="52" y="0"/>
                    <a:pt x="52" y="0"/>
                  </a:cubicBezTo>
                  <a:cubicBezTo>
                    <a:pt x="41" y="0"/>
                    <a:pt x="36" y="3"/>
                    <a:pt x="33" y="7"/>
                  </a:cubicBezTo>
                  <a:cubicBezTo>
                    <a:pt x="0" y="42"/>
                    <a:pt x="0" y="42"/>
                    <a:pt x="0" y="42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2" y="48"/>
                    <a:pt x="4" y="48"/>
                  </a:cubicBezTo>
                  <a:cubicBezTo>
                    <a:pt x="5" y="48"/>
                    <a:pt x="5" y="48"/>
                    <a:pt x="5" y="48"/>
                  </a:cubicBezTo>
                  <a:cubicBezTo>
                    <a:pt x="438" y="48"/>
                    <a:pt x="438" y="48"/>
                    <a:pt x="438" y="48"/>
                  </a:cubicBezTo>
                  <a:cubicBezTo>
                    <a:pt x="441" y="48"/>
                    <a:pt x="443" y="47"/>
                    <a:pt x="443" y="46"/>
                  </a:cubicBezTo>
                  <a:cubicBezTo>
                    <a:pt x="443" y="42"/>
                    <a:pt x="443" y="42"/>
                    <a:pt x="443" y="42"/>
                  </a:cubicBezTo>
                  <a:cubicBezTo>
                    <a:pt x="409" y="7"/>
                    <a:pt x="409" y="7"/>
                    <a:pt x="409" y="7"/>
                  </a:cubicBezTo>
                  <a:cubicBezTo>
                    <a:pt x="406" y="3"/>
                    <a:pt x="400" y="0"/>
                    <a:pt x="389" y="0"/>
                  </a:cubicBezTo>
                  <a:moveTo>
                    <a:pt x="17" y="41"/>
                  </a:moveTo>
                  <a:cubicBezTo>
                    <a:pt x="48" y="9"/>
                    <a:pt x="48" y="9"/>
                    <a:pt x="48" y="9"/>
                  </a:cubicBezTo>
                  <a:cubicBezTo>
                    <a:pt x="48" y="9"/>
                    <a:pt x="48" y="9"/>
                    <a:pt x="48" y="9"/>
                  </a:cubicBezTo>
                  <a:cubicBezTo>
                    <a:pt x="49" y="9"/>
                    <a:pt x="49" y="9"/>
                    <a:pt x="49" y="9"/>
                  </a:cubicBezTo>
                  <a:cubicBezTo>
                    <a:pt x="52" y="4"/>
                    <a:pt x="57" y="4"/>
                    <a:pt x="59" y="4"/>
                  </a:cubicBezTo>
                  <a:cubicBezTo>
                    <a:pt x="383" y="4"/>
                    <a:pt x="383" y="4"/>
                    <a:pt x="383" y="4"/>
                  </a:cubicBezTo>
                  <a:cubicBezTo>
                    <a:pt x="385" y="4"/>
                    <a:pt x="389" y="4"/>
                    <a:pt x="393" y="9"/>
                  </a:cubicBezTo>
                  <a:cubicBezTo>
                    <a:pt x="393" y="9"/>
                    <a:pt x="393" y="9"/>
                    <a:pt x="393" y="9"/>
                  </a:cubicBezTo>
                  <a:cubicBezTo>
                    <a:pt x="393" y="9"/>
                    <a:pt x="393" y="9"/>
                    <a:pt x="393" y="9"/>
                  </a:cubicBezTo>
                  <a:cubicBezTo>
                    <a:pt x="425" y="41"/>
                    <a:pt x="425" y="41"/>
                    <a:pt x="425" y="41"/>
                  </a:cubicBezTo>
                  <a:cubicBezTo>
                    <a:pt x="425" y="44"/>
                    <a:pt x="425" y="44"/>
                    <a:pt x="425" y="44"/>
                  </a:cubicBezTo>
                  <a:cubicBezTo>
                    <a:pt x="17" y="44"/>
                    <a:pt x="17" y="44"/>
                    <a:pt x="17" y="44"/>
                  </a:cubicBezTo>
                  <a:lnTo>
                    <a:pt x="17" y="41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  <p:sp>
          <p:nvSpPr>
            <p:cNvPr id="86137" name="Freeform 1149"/>
            <p:cNvSpPr>
              <a:spLocks noEditPoints="1"/>
            </p:cNvSpPr>
            <p:nvPr/>
          </p:nvSpPr>
          <p:spPr bwMode="auto">
            <a:xfrm>
              <a:off x="2191787" y="1471613"/>
              <a:ext cx="254001" cy="153988"/>
            </a:xfrm>
            <a:custGeom>
              <a:avLst/>
              <a:gdLst>
                <a:gd name="T0" fmla="*/ 2147483647 w 338"/>
                <a:gd name="T1" fmla="*/ 0 h 206"/>
                <a:gd name="T2" fmla="*/ 0 w 338"/>
                <a:gd name="T3" fmla="*/ 0 h 206"/>
                <a:gd name="T4" fmla="*/ 0 w 338"/>
                <a:gd name="T5" fmla="*/ 0 h 206"/>
                <a:gd name="T6" fmla="*/ 0 w 338"/>
                <a:gd name="T7" fmla="*/ 2147483647 h 206"/>
                <a:gd name="T8" fmla="*/ 0 w 338"/>
                <a:gd name="T9" fmla="*/ 2147483647 h 206"/>
                <a:gd name="T10" fmla="*/ 2147483647 w 338"/>
                <a:gd name="T11" fmla="*/ 2147483647 h 206"/>
                <a:gd name="T12" fmla="*/ 2147483647 w 338"/>
                <a:gd name="T13" fmla="*/ 2147483647 h 206"/>
                <a:gd name="T14" fmla="*/ 2147483647 w 338"/>
                <a:gd name="T15" fmla="*/ 0 h 206"/>
                <a:gd name="T16" fmla="*/ 2147483647 w 338"/>
                <a:gd name="T17" fmla="*/ 0 h 206"/>
                <a:gd name="T18" fmla="*/ 2147483647 w 338"/>
                <a:gd name="T19" fmla="*/ 2147483647 h 206"/>
                <a:gd name="T20" fmla="*/ 2147483647 w 338"/>
                <a:gd name="T21" fmla="*/ 2147483647 h 206"/>
                <a:gd name="T22" fmla="*/ 2147483647 w 338"/>
                <a:gd name="T23" fmla="*/ 2147483647 h 206"/>
                <a:gd name="T24" fmla="*/ 0 w 338"/>
                <a:gd name="T25" fmla="*/ 2147483647 h 206"/>
                <a:gd name="T26" fmla="*/ 0 w 338"/>
                <a:gd name="T27" fmla="*/ 2147483647 h 206"/>
                <a:gd name="T28" fmla="*/ 2147483647 w 338"/>
                <a:gd name="T29" fmla="*/ 0 h 206"/>
                <a:gd name="T30" fmla="*/ 2147483647 w 338"/>
                <a:gd name="T31" fmla="*/ 0 h 206"/>
                <a:gd name="T32" fmla="*/ 2147483647 w 338"/>
                <a:gd name="T33" fmla="*/ 2147483647 h 206"/>
                <a:gd name="T34" fmla="*/ 2147483647 w 338"/>
                <a:gd name="T35" fmla="*/ 2147483647 h 20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38"/>
                <a:gd name="T55" fmla="*/ 0 h 206"/>
                <a:gd name="T56" fmla="*/ 338 w 338"/>
                <a:gd name="T57" fmla="*/ 206 h 20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38" h="206">
                  <a:moveTo>
                    <a:pt x="329" y="0"/>
                  </a:moveTo>
                  <a:cubicBezTo>
                    <a:pt x="10" y="0"/>
                    <a:pt x="10" y="0"/>
                    <a:pt x="10" y="0"/>
                  </a:cubicBezTo>
                  <a:cubicBezTo>
                    <a:pt x="5" y="0"/>
                    <a:pt x="0" y="4"/>
                    <a:pt x="0" y="9"/>
                  </a:cubicBezTo>
                  <a:cubicBezTo>
                    <a:pt x="0" y="197"/>
                    <a:pt x="0" y="197"/>
                    <a:pt x="0" y="197"/>
                  </a:cubicBezTo>
                  <a:cubicBezTo>
                    <a:pt x="0" y="202"/>
                    <a:pt x="5" y="206"/>
                    <a:pt x="10" y="206"/>
                  </a:cubicBezTo>
                  <a:cubicBezTo>
                    <a:pt x="329" y="206"/>
                    <a:pt x="329" y="206"/>
                    <a:pt x="329" y="206"/>
                  </a:cubicBezTo>
                  <a:cubicBezTo>
                    <a:pt x="334" y="206"/>
                    <a:pt x="338" y="202"/>
                    <a:pt x="338" y="197"/>
                  </a:cubicBezTo>
                  <a:cubicBezTo>
                    <a:pt x="338" y="9"/>
                    <a:pt x="338" y="9"/>
                    <a:pt x="338" y="9"/>
                  </a:cubicBezTo>
                  <a:cubicBezTo>
                    <a:pt x="338" y="4"/>
                    <a:pt x="334" y="0"/>
                    <a:pt x="329" y="0"/>
                  </a:cubicBezTo>
                  <a:moveTo>
                    <a:pt x="329" y="189"/>
                  </a:moveTo>
                  <a:cubicBezTo>
                    <a:pt x="329" y="194"/>
                    <a:pt x="325" y="198"/>
                    <a:pt x="320" y="198"/>
                  </a:cubicBezTo>
                  <a:cubicBezTo>
                    <a:pt x="18" y="198"/>
                    <a:pt x="18" y="198"/>
                    <a:pt x="18" y="198"/>
                  </a:cubicBezTo>
                  <a:cubicBezTo>
                    <a:pt x="13" y="198"/>
                    <a:pt x="9" y="194"/>
                    <a:pt x="9" y="189"/>
                  </a:cubicBezTo>
                  <a:cubicBezTo>
                    <a:pt x="9" y="18"/>
                    <a:pt x="9" y="18"/>
                    <a:pt x="9" y="18"/>
                  </a:cubicBezTo>
                  <a:cubicBezTo>
                    <a:pt x="9" y="13"/>
                    <a:pt x="13" y="9"/>
                    <a:pt x="18" y="9"/>
                  </a:cubicBezTo>
                  <a:cubicBezTo>
                    <a:pt x="320" y="9"/>
                    <a:pt x="320" y="9"/>
                    <a:pt x="320" y="9"/>
                  </a:cubicBezTo>
                  <a:cubicBezTo>
                    <a:pt x="325" y="9"/>
                    <a:pt x="329" y="13"/>
                    <a:pt x="329" y="18"/>
                  </a:cubicBezTo>
                  <a:lnTo>
                    <a:pt x="329" y="189"/>
                  </a:lnTo>
                  <a:close/>
                </a:path>
              </a:pathLst>
            </a:custGeom>
            <a:solidFill>
              <a:srgbClr val="FFAF00"/>
            </a:solidFill>
            <a:ln w="9525">
              <a:noFill/>
              <a:miter lim="800000"/>
              <a:headEnd/>
              <a:tailEnd/>
            </a:ln>
          </p:spPr>
          <p:txBody>
            <a:bodyPr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000000"/>
                </a:solidFill>
                <a:ea typeface="ＭＳ Ｐゴシック" charset="0"/>
                <a:cs typeface="ＭＳ Ｐゴシック" charset="0"/>
              </a:endParaRPr>
            </a:p>
          </p:txBody>
        </p:sp>
      </p:grpSp>
      <p:grpSp>
        <p:nvGrpSpPr>
          <p:cNvPr id="153" name="Gruppieren 252"/>
          <p:cNvGrpSpPr/>
          <p:nvPr>
            <p:custDataLst>
              <p:tags r:id="rId1"/>
            </p:custDataLst>
          </p:nvPr>
        </p:nvGrpSpPr>
        <p:grpSpPr>
          <a:xfrm>
            <a:off x="8463963" y="2411724"/>
            <a:ext cx="1542050" cy="3272704"/>
            <a:chOff x="5648113" y="1749116"/>
            <a:chExt cx="1253360" cy="2986913"/>
          </a:xfrm>
        </p:grpSpPr>
        <p:pic>
          <p:nvPicPr>
            <p:cNvPr id="161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648113" y="1749116"/>
              <a:ext cx="1253360" cy="2986913"/>
            </a:xfrm>
            <a:prstGeom prst="rect">
              <a:avLst/>
            </a:prstGeom>
            <a:noFill/>
            <a:ln w="9525">
              <a:noFill/>
              <a:round/>
              <a:headEnd/>
              <a:tailEnd/>
            </a:ln>
          </p:spPr>
        </p:pic>
        <p:sp>
          <p:nvSpPr>
            <p:cNvPr id="155" name="Text Box 7"/>
            <p:cNvSpPr txBox="1">
              <a:spLocks noChangeArrowheads="1"/>
            </p:cNvSpPr>
            <p:nvPr/>
          </p:nvSpPr>
          <p:spPr bwMode="auto">
            <a:xfrm>
              <a:off x="5955322" y="3866401"/>
              <a:ext cx="416840" cy="297446"/>
            </a:xfrm>
            <a:prstGeom prst="round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>
              <a:defPPr>
                <a:defRPr lang="en-GB"/>
              </a:defPPr>
              <a:lvl1pPr defTabSz="762000">
                <a:tabLst>
                  <a:tab pos="7620000" algn="r"/>
                </a:tabLst>
                <a:defRPr sz="1200" b="1">
                  <a:solidFill>
                    <a:schemeClr val="bg1"/>
                  </a:solidFill>
                  <a:cs typeface="MS PGothic"/>
                </a:defRPr>
              </a:lvl1pPr>
            </a:lstStyle>
            <a:p>
              <a:pPr algn="ctr"/>
              <a:r>
                <a:rPr lang="en-US" sz="1300" dirty="0" smtClean="0"/>
                <a:t>MSS</a:t>
              </a:r>
              <a:endParaRPr lang="en-US" sz="1300" dirty="0"/>
            </a:p>
          </p:txBody>
        </p:sp>
        <p:sp>
          <p:nvSpPr>
            <p:cNvPr id="156" name="Text Box 10"/>
            <p:cNvSpPr txBox="1">
              <a:spLocks noChangeArrowheads="1"/>
            </p:cNvSpPr>
            <p:nvPr/>
          </p:nvSpPr>
          <p:spPr bwMode="auto">
            <a:xfrm>
              <a:off x="5937841" y="3015223"/>
              <a:ext cx="435891" cy="495089"/>
            </a:xfrm>
            <a:prstGeom prst="round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>
              <a:defPPr>
                <a:defRPr lang="en-GB"/>
              </a:defPPr>
              <a:lvl1pPr defTabSz="762000">
                <a:tabLst>
                  <a:tab pos="7620000" algn="r"/>
                </a:tabLst>
                <a:defRPr sz="1200" b="1">
                  <a:solidFill>
                    <a:schemeClr val="bg1"/>
                  </a:solidFill>
                  <a:cs typeface="MS PGothic"/>
                </a:defRPr>
              </a:lvl1pPr>
            </a:lstStyle>
            <a:p>
              <a:pPr algn="ctr"/>
              <a:r>
                <a:rPr lang="en-US" sz="1300" dirty="0" smtClean="0"/>
                <a:t>SMS</a:t>
              </a:r>
              <a:br>
                <a:rPr lang="en-US" sz="1300" dirty="0" smtClean="0"/>
              </a:br>
              <a:endParaRPr lang="en-US" sz="1300" dirty="0"/>
            </a:p>
          </p:txBody>
        </p:sp>
        <p:sp>
          <p:nvSpPr>
            <p:cNvPr id="157" name="Text Box 11"/>
            <p:cNvSpPr txBox="1">
              <a:spLocks noChangeArrowheads="1"/>
            </p:cNvSpPr>
            <p:nvPr/>
          </p:nvSpPr>
          <p:spPr bwMode="auto">
            <a:xfrm>
              <a:off x="5947054" y="2234671"/>
              <a:ext cx="433382" cy="297446"/>
            </a:xfrm>
            <a:prstGeom prst="roundRect">
              <a:avLst/>
            </a:prstGeom>
            <a:noFill/>
            <a:ln w="19050" algn="ctr">
              <a:noFill/>
              <a:miter lim="800000"/>
              <a:headEnd/>
              <a:tailEnd/>
            </a:ln>
          </p:spPr>
          <p:txBody>
            <a:bodyPr wrap="none" lIns="90000" tIns="46800" rIns="90000" bIns="46800">
              <a:spAutoFit/>
            </a:bodyPr>
            <a:lstStyle>
              <a:defPPr>
                <a:defRPr lang="en-GB"/>
              </a:defPPr>
              <a:lvl1pPr defTabSz="762000">
                <a:tabLst>
                  <a:tab pos="7620000" algn="r"/>
                </a:tabLst>
                <a:defRPr sz="1200" b="1">
                  <a:solidFill>
                    <a:schemeClr val="bg1"/>
                  </a:solidFill>
                  <a:cs typeface="MS PGothic"/>
                </a:defRPr>
              </a:lvl1pPr>
            </a:lstStyle>
            <a:p>
              <a:pPr algn="ctr"/>
              <a:r>
                <a:rPr lang="en-US" sz="1300" dirty="0" smtClean="0"/>
                <a:t>VMS</a:t>
              </a:r>
              <a:endParaRPr lang="en-US" sz="1300" dirty="0"/>
            </a:p>
          </p:txBody>
        </p:sp>
      </p:grpSp>
      <p:sp>
        <p:nvSpPr>
          <p:cNvPr id="86065" name="AutoShape 42"/>
          <p:cNvSpPr>
            <a:spLocks noChangeArrowheads="1"/>
          </p:cNvSpPr>
          <p:nvPr/>
        </p:nvSpPr>
        <p:spPr bwMode="auto">
          <a:xfrm>
            <a:off x="7976525" y="1997363"/>
            <a:ext cx="2813712" cy="527538"/>
          </a:xfrm>
          <a:prstGeom prst="roundRect">
            <a:avLst>
              <a:gd name="adj" fmla="val 31208"/>
            </a:avLst>
          </a:prstGeom>
          <a:gradFill rotWithShape="1">
            <a:gsLst>
              <a:gs pos="0">
                <a:srgbClr val="B270C7"/>
              </a:gs>
              <a:gs pos="100000">
                <a:srgbClr val="7F10A2"/>
              </a:gs>
            </a:gsLst>
            <a:lin ang="5400000" scaled="1"/>
          </a:gradFill>
          <a:ln w="28575">
            <a:solidFill>
              <a:srgbClr val="7F10A2"/>
            </a:solidFill>
            <a:miter lim="800000"/>
            <a:headEnd/>
            <a:tailEnd/>
          </a:ln>
        </p:spPr>
        <p:txBody>
          <a:bodyPr wrap="none" lIns="91439" tIns="45719" rIns="91439" bIns="45719" anchor="ctr">
            <a:prstTxWarp prst="textNoShape">
              <a:avLst/>
            </a:prstTxWarp>
          </a:bodyPr>
          <a:lstStyle/>
          <a:p>
            <a:endParaRPr lang="en-GB" sz="1600" dirty="0">
              <a:solidFill>
                <a:schemeClr val="bg1"/>
              </a:solidFill>
              <a:ea typeface="ＭＳ Ｐゴシック" charset="0"/>
              <a:cs typeface="ＭＳ Ｐゴシック" charset="0"/>
            </a:endParaRPr>
          </a:p>
          <a:p>
            <a:pPr>
              <a:lnSpc>
                <a:spcPct val="130000"/>
              </a:lnSpc>
            </a:pPr>
            <a:r>
              <a:rPr lang="en-GB" sz="1600" b="1" dirty="0" smtClean="0">
                <a:solidFill>
                  <a:schemeClr val="bg1"/>
                </a:solidFill>
                <a:ea typeface="ＭＳ Ｐゴシック" charset="0"/>
                <a:cs typeface="ＭＳ Ｐゴシック" charset="0"/>
              </a:rPr>
              <a:t>One Common Hardware-ATCA</a:t>
            </a:r>
            <a:endParaRPr lang="en-GB" sz="1600" b="1" dirty="0">
              <a:solidFill>
                <a:schemeClr val="bg1"/>
              </a:solidFill>
              <a:ea typeface="ＭＳ Ｐゴシック" charset="0"/>
              <a:cs typeface="ＭＳ Ｐゴシック" charset="0"/>
            </a:endParaRPr>
          </a:p>
          <a:p>
            <a:pPr>
              <a:lnSpc>
                <a:spcPct val="90000"/>
              </a:lnSpc>
              <a:spcBef>
                <a:spcPct val="30000"/>
              </a:spcBef>
              <a:buClr>
                <a:schemeClr val="accent2"/>
              </a:buClr>
              <a:buSzPct val="110000"/>
            </a:pPr>
            <a:endParaRPr lang="en-US" sz="1600" dirty="0">
              <a:solidFill>
                <a:srgbClr val="FFFFFF"/>
              </a:solidFill>
              <a:ea typeface="ＭＳ Ｐゴシック" charset="0"/>
              <a:cs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9688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637" y="0"/>
            <a:ext cx="10369550" cy="1143000"/>
          </a:xfrm>
        </p:spPr>
        <p:txBody>
          <a:bodyPr>
            <a:normAutofit/>
          </a:bodyPr>
          <a:lstStyle/>
          <a:p>
            <a:pPr algn="l" eaLnBrk="0" hangingPunct="0">
              <a:lnSpc>
                <a:spcPct val="90000"/>
              </a:lnSpc>
            </a:pPr>
            <a:r>
              <a:rPr lang="en-US" sz="2800" b="1" dirty="0">
                <a:solidFill>
                  <a:srgbClr val="666666"/>
                </a:solidFill>
                <a:ea typeface="ＭＳ Ｐゴシック" charset="0"/>
                <a:cs typeface="ＭＳ Ｐゴシック" charset="0"/>
              </a:rPr>
              <a:t>Liquid </a:t>
            </a:r>
            <a:r>
              <a:rPr lang="en-US" sz="2800" b="1" dirty="0" smtClean="0">
                <a:solidFill>
                  <a:srgbClr val="666666"/>
                </a:solidFill>
                <a:ea typeface="ＭＳ Ｐゴシック" charset="0"/>
                <a:cs typeface="ＭＳ Ｐゴシック" charset="0"/>
              </a:rPr>
              <a:t>Transport “Non functional requirements”</a:t>
            </a:r>
            <a:endParaRPr lang="en-US" sz="2800" b="1" dirty="0">
              <a:solidFill>
                <a:srgbClr val="666666"/>
              </a:solidFill>
              <a:ea typeface="ＭＳ Ｐゴシック" charset="0"/>
              <a:cs typeface="ＭＳ Ｐゴシック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9437" y="1143000"/>
            <a:ext cx="10369550" cy="5486400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rgbClr val="7030A0"/>
                </a:solidFill>
              </a:rPr>
              <a:t>Intelligent Control </a:t>
            </a:r>
          </a:p>
          <a:p>
            <a:pPr marL="0" indent="0">
              <a:buNone/>
            </a:pPr>
            <a:r>
              <a:rPr lang="en-GB" sz="2000" dirty="0"/>
              <a:t>A multi-layer intelligent control plane is introduced to the network to </a:t>
            </a:r>
            <a:r>
              <a:rPr lang="en-GB" sz="2000" dirty="0" smtClean="0"/>
              <a:t>enable more flexibility , rapidly </a:t>
            </a:r>
            <a:r>
              <a:rPr lang="en-GB" sz="2000" dirty="0"/>
              <a:t>and easy network operation and service provisioning, what </a:t>
            </a:r>
            <a:r>
              <a:rPr lang="en-GB" sz="2000" dirty="0" smtClean="0"/>
              <a:t>is called </a:t>
            </a:r>
            <a:r>
              <a:rPr lang="en-GB" sz="2000" dirty="0"/>
              <a:t>‘services in seconds’.</a:t>
            </a:r>
            <a:endParaRPr lang="en-US" sz="2000" dirty="0" smtClean="0"/>
          </a:p>
          <a:p>
            <a:r>
              <a:rPr lang="en-US" dirty="0" smtClean="0">
                <a:solidFill>
                  <a:srgbClr val="7030A0"/>
                </a:solidFill>
              </a:rPr>
              <a:t>Flexible Optics </a:t>
            </a:r>
          </a:p>
          <a:p>
            <a:pPr marL="0" indent="0">
              <a:buNone/>
            </a:pPr>
            <a:r>
              <a:rPr lang="en-GB" sz="2000" dirty="0"/>
              <a:t>By making the optical transport layer, the lowest layer with the least total cost of ownership  (TCO), more flexible and software-configurable, more traffic can be carried more cheaply than on the IP layer, removing many of today’s network scalability and cost constraints, and supporting rapid service provisioning and low latency: </a:t>
            </a:r>
            <a:r>
              <a:rPr lang="en-GB" sz="2000" dirty="0" smtClean="0"/>
              <a:t>what is called </a:t>
            </a:r>
            <a:r>
              <a:rPr lang="en-GB" sz="2000" dirty="0"/>
              <a:t>‘zero-constraint networking’</a:t>
            </a:r>
            <a:endParaRPr lang="en-US" sz="2000" dirty="0" smtClean="0"/>
          </a:p>
          <a:p>
            <a:r>
              <a:rPr lang="en-US" dirty="0" smtClean="0">
                <a:solidFill>
                  <a:srgbClr val="7030A0"/>
                </a:solidFill>
              </a:rPr>
              <a:t>Multilayer Optimization </a:t>
            </a:r>
            <a:endParaRPr lang="en-US" dirty="0"/>
          </a:p>
          <a:p>
            <a:pPr marL="0" indent="0">
              <a:buNone/>
            </a:pPr>
            <a:r>
              <a:rPr lang="en-GB" sz="2000" dirty="0" smtClean="0"/>
              <a:t>For </a:t>
            </a:r>
            <a:r>
              <a:rPr lang="en-GB" sz="2000" dirty="0"/>
              <a:t>maximum efficiency between the optical and the IP layer (360’ network design), transport networks must be planned and implemented holistically across all networking technologies, including in particular radio and core – and across different vendors</a:t>
            </a:r>
            <a:endParaRPr lang="en-US" sz="2000" dirty="0" smtClean="0"/>
          </a:p>
        </p:txBody>
      </p:sp>
    </p:spTree>
    <p:extLst>
      <p:ext uri="{BB962C8B-B14F-4D97-AF65-F5344CB8AC3E}">
        <p14:creationId xmlns:p14="http://schemas.microsoft.com/office/powerpoint/2010/main" val="28235410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84237" y="2133600"/>
            <a:ext cx="9794875" cy="1470025"/>
          </a:xfrm>
        </p:spPr>
        <p:txBody>
          <a:bodyPr/>
          <a:lstStyle/>
          <a:p>
            <a:pPr algn="l"/>
            <a:r>
              <a:rPr lang="en-US" dirty="0" smtClean="0"/>
              <a:t>Reference </a:t>
            </a:r>
            <a:endParaRPr lang="en-US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884237" y="3124200"/>
            <a:ext cx="8064500" cy="1752600"/>
          </a:xfrm>
        </p:spPr>
        <p:txBody>
          <a:bodyPr/>
          <a:lstStyle/>
          <a:p>
            <a:pPr algn="l"/>
            <a:r>
              <a:rPr lang="en-US" dirty="0" smtClean="0">
                <a:solidFill>
                  <a:srgbClr val="002060"/>
                </a:solidFill>
              </a:rPr>
              <a:t>NSN white papers</a:t>
            </a:r>
            <a:r>
              <a:rPr lang="en-US" dirty="0" smtClean="0">
                <a:solidFill>
                  <a:srgbClr val="002060"/>
                </a:solidFill>
              </a:rPr>
              <a:t/>
            </a:r>
            <a:br>
              <a:rPr lang="en-US" dirty="0" smtClean="0">
                <a:solidFill>
                  <a:srgbClr val="002060"/>
                </a:solidFill>
              </a:rPr>
            </a:br>
            <a:r>
              <a:rPr lang="en-US" dirty="0" smtClean="0">
                <a:solidFill>
                  <a:srgbClr val="002060"/>
                </a:solidFill>
              </a:rPr>
              <a:t>Wikipedia</a:t>
            </a:r>
            <a:endParaRPr lang="en-US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3628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K8GGpxJEerDrLlNCBY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sfkyEfHkeJLT38cvh9fQ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7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307</TotalTime>
  <Words>454</Words>
  <Application>Microsoft Office PowerPoint</Application>
  <PresentationFormat>Custom</PresentationFormat>
  <Paragraphs>121</Paragraphs>
  <Slides>10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9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1_Office Theme</vt:lpstr>
      <vt:lpstr>1_Custom Design</vt:lpstr>
      <vt:lpstr>2_Custom Design</vt:lpstr>
      <vt:lpstr>3_Custom Design</vt:lpstr>
      <vt:lpstr>Custom Design</vt:lpstr>
      <vt:lpstr>4_Custom Design</vt:lpstr>
      <vt:lpstr>5_Custom Design</vt:lpstr>
      <vt:lpstr>6_Custom Design</vt:lpstr>
      <vt:lpstr>7_Custom Design</vt:lpstr>
      <vt:lpstr>Pooria Kamran Rashani</vt:lpstr>
      <vt:lpstr>PowerPoint Presentation</vt:lpstr>
      <vt:lpstr>PowerPoint Presentation</vt:lpstr>
      <vt:lpstr>Unpredictable use, but dependent on time and place</vt:lpstr>
      <vt:lpstr>PowerPoint Presentation</vt:lpstr>
      <vt:lpstr>Smart Lab finding example: Signaling generated by playing Angry Birds </vt:lpstr>
      <vt:lpstr>PowerPoint Presentation</vt:lpstr>
      <vt:lpstr>Liquid Transport “Non functional requirements”</vt:lpstr>
      <vt:lpstr>Reference </vt:lpstr>
      <vt:lpstr>Thank You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oria Kamran Rashani</dc:title>
  <dc:creator>Pooria</dc:creator>
  <cp:lastModifiedBy>Pooria</cp:lastModifiedBy>
  <cp:revision>41</cp:revision>
  <dcterms:created xsi:type="dcterms:W3CDTF">2006-08-16T00:00:00Z</dcterms:created>
  <dcterms:modified xsi:type="dcterms:W3CDTF">2012-05-18T15:11:19Z</dcterms:modified>
</cp:coreProperties>
</file>